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4" r:id="rId2"/>
  </p:sldMasterIdLst>
  <p:notesMasterIdLst>
    <p:notesMasterId r:id="rId19"/>
  </p:notesMasterIdLst>
  <p:sldIdLst>
    <p:sldId id="256" r:id="rId3"/>
    <p:sldId id="432" r:id="rId4"/>
    <p:sldId id="345" r:id="rId5"/>
    <p:sldId id="346" r:id="rId6"/>
    <p:sldId id="343" r:id="rId7"/>
    <p:sldId id="344" r:id="rId8"/>
    <p:sldId id="420" r:id="rId9"/>
    <p:sldId id="421" r:id="rId10"/>
    <p:sldId id="348" r:id="rId11"/>
    <p:sldId id="352" r:id="rId12"/>
    <p:sldId id="440" r:id="rId13"/>
    <p:sldId id="419" r:id="rId14"/>
    <p:sldId id="439" r:id="rId15"/>
    <p:sldId id="441" r:id="rId16"/>
    <p:sldId id="442" r:id="rId17"/>
    <p:sldId id="436" r:id="rId18"/>
  </p:sldIdLst>
  <p:sldSz cx="9144000" cy="6858000" type="screen4x3"/>
  <p:notesSz cx="7315200" cy="96012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71BA"/>
    <a:srgbClr val="009ED6"/>
    <a:srgbClr val="000066"/>
    <a:srgbClr val="3201AB"/>
    <a:srgbClr val="0062AC"/>
    <a:srgbClr val="122256"/>
    <a:srgbClr val="033C8F"/>
    <a:srgbClr val="0461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2" autoAdjust="0"/>
    <p:restoredTop sz="94692" autoAdjust="0"/>
  </p:normalViewPr>
  <p:slideViewPr>
    <p:cSldViewPr>
      <p:cViewPr>
        <p:scale>
          <a:sx n="80" d="100"/>
          <a:sy n="80" d="100"/>
        </p:scale>
        <p:origin x="-1522" y="-1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64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856748080990473"/>
          <c:y val="0.21743957461516622"/>
          <c:w val="0.85026159230096243"/>
          <c:h val="0.6908890204611412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Sheet1!$D$4:$D$6</c:f>
              <c:strCache>
                <c:ptCount val="3"/>
                <c:pt idx="0">
                  <c:v>Developed Countries</c:v>
                </c:pt>
                <c:pt idx="1">
                  <c:v>Developing Countries</c:v>
                </c:pt>
                <c:pt idx="2">
                  <c:v>LDCs</c:v>
                </c:pt>
              </c:strCache>
            </c:strRef>
          </c:cat>
          <c:val>
            <c:numRef>
              <c:f>Sheet1!$E$4:$E$6</c:f>
              <c:numCache>
                <c:formatCode>General</c:formatCode>
                <c:ptCount val="3"/>
              </c:numCache>
            </c:numRef>
          </c:val>
        </c:ser>
        <c:ser>
          <c:idx val="1"/>
          <c:order val="1"/>
          <c:invertIfNegative val="0"/>
          <c:cat>
            <c:strRef>
              <c:f>Sheet1!$D$4:$D$6</c:f>
              <c:strCache>
                <c:ptCount val="3"/>
                <c:pt idx="0">
                  <c:v>Developed Countries</c:v>
                </c:pt>
                <c:pt idx="1">
                  <c:v>Developing Countries</c:v>
                </c:pt>
                <c:pt idx="2">
                  <c:v>LDCs</c:v>
                </c:pt>
              </c:strCache>
            </c:strRef>
          </c:cat>
          <c:val>
            <c:numRef>
              <c:f>Sheet1!$F$4:$F$6</c:f>
              <c:numCache>
                <c:formatCode>General</c:formatCode>
                <c:ptCount val="3"/>
                <c:pt idx="0">
                  <c:v>26510</c:v>
                </c:pt>
                <c:pt idx="1">
                  <c:v>1400</c:v>
                </c:pt>
                <c:pt idx="2">
                  <c:v>4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090048"/>
        <c:axId val="123091584"/>
      </c:barChart>
      <c:catAx>
        <c:axId val="123090048"/>
        <c:scaling>
          <c:orientation val="minMax"/>
        </c:scaling>
        <c:delete val="0"/>
        <c:axPos val="b"/>
        <c:majorTickMark val="out"/>
        <c:minorTickMark val="none"/>
        <c:tickLblPos val="nextTo"/>
        <c:crossAx val="123091584"/>
        <c:crosses val="autoZero"/>
        <c:auto val="1"/>
        <c:lblAlgn val="ctr"/>
        <c:lblOffset val="100"/>
        <c:noMultiLvlLbl val="0"/>
      </c:catAx>
      <c:valAx>
        <c:axId val="12309158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3090048"/>
        <c:crosses val="autoZero"/>
        <c:crossBetween val="between"/>
      </c:valAx>
      <c:spPr>
        <a:solidFill>
          <a:schemeClr val="bg1"/>
        </a:solidFill>
      </c:spPr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D4FA16-D11A-4EFE-B44A-2EBC8FB73CF1}" type="datetimeFigureOut">
              <a:rPr lang="en-US" smtClean="0"/>
              <a:pPr/>
              <a:t>5/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7EBB8E-2D97-4BDF-ACB7-5F51E503F6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651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37ECF2C-40A6-4296-860E-C80BADF35744}" type="slidenum">
              <a:rPr lang="en-US" altLang="en-US" smtClean="0">
                <a:ea typeface="SimSun" pitchFamily="2" charset="-122"/>
              </a:rPr>
              <a:pPr/>
              <a:t>3</a:t>
            </a:fld>
            <a:endParaRPr lang="en-US" altLang="en-US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F1306EA-42D1-491C-AC5D-D035085B8418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pt-PT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EBB8E-2D97-4BDF-ACB7-5F51E503F61D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236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8B7465-699A-45F8-AAFD-26D2918C70DB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70510-D4DF-4750-8954-C066B973F64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E5123-2168-47A0-A401-DF076C7DE22A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F1D516-D919-4BC5-BF40-E66E701434A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42938"/>
            <a:ext cx="2057400" cy="548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42938"/>
            <a:ext cx="6019800" cy="548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7DAEC-E410-402F-829B-46FA2BEA487D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419EB-0265-4098-8902-4D23207CC2E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52D2D-46BB-4A20-A9B5-DDD8F4E14267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83244-1420-437A-8D6B-2EBC469D11B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37897-45AB-4E63-9312-FA2131A927DD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AA0FD-83E2-4587-8CFC-B5DA2613639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B2593-3F82-43AD-ADAF-6AA8193B0463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F3BFCD-BB5B-4794-A708-8026460EECA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CF516-7549-4A98-8A4E-C767552E3BEA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1A3D2-2963-4461-A4E8-963291A67A8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362E56-FC38-4BA3-9B4F-A05BAED75F22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8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6E29D-394F-4D0C-80E9-86A48C8785A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01F733-019A-4AA5-B099-E6ED628484FD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F0F141-C51D-444B-AF95-7266A947036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097CE-9789-4CD7-A696-CAED946C2337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3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4858F-EFBD-4CD6-9F63-6D43683E417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943C1D-4399-4A14-9DD9-9D3BF8CC5D90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826F00-B06C-4FE1-8A8A-98CADA8E2F8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11266-0D69-4BDE-8ABB-A4D45DDA48CF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BCF9F-D7E6-4F42-84B6-48BCBAEE4F8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4E58D7-4F03-4730-862B-A499A663246A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DB9E5-B227-47B7-9E57-CEBB88353D8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DBFC67-5FF7-4137-BD2B-0B7CF0612247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B816E5-A66F-4FAB-BD5C-319A1457165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42938"/>
            <a:ext cx="2057400" cy="548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42938"/>
            <a:ext cx="6019800" cy="548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85CA0-22F7-44F7-9467-057DA3FADDA6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FC3C4-1EF8-4161-80D9-50F8D534CAC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685800" y="1981200"/>
            <a:ext cx="3810000" cy="4114800"/>
          </a:xfrm>
        </p:spPr>
        <p:txBody>
          <a:bodyPr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00800" y="6356350"/>
            <a:ext cx="22891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898775" y="6356350"/>
            <a:ext cx="3505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A24313-952B-4976-A47E-6364F735BF9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694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B0613A-E645-47DD-8406-90B77A6ADF7C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5094D-CAF3-472D-B531-7306032B5D5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AC386-A037-4CDF-A6BE-F59EDD971B0C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7F1C4-BC63-41FA-A0E0-F2B7EBF4161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C83BE0-EACB-47CA-A47E-DC09BFE7BC10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8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849999-DE69-4B8B-8CC3-6D0A0D1038B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156E08-5C38-4568-927E-744A2A36C773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EBC1B-B95B-4B43-831A-5D5FE1B8ED2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F20E9-BADE-49D4-B281-CC0B06941F21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3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236692-7F31-4E37-90B8-8F142E2CD6C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2E8F3B-22CE-4802-BEB3-7F5B7AF872F5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06701F-FEFB-4636-8F3F-F5EFC2E56BF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251B3A-6178-4933-BC0F-95B0BD1038EC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B3E43D-ECB0-4717-B1C3-E9012598435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C:\Documents and Settings\鱼不愚\桌面\未标题-1副本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42938"/>
            <a:ext cx="82296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28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sp>
        <p:nvSpPr>
          <p:cNvPr id="1029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FAADE24-CC02-400F-9B40-6D4FC3B9D0B9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1030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31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C176B60-A0DE-4BA3-B445-9F31E00EF3F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  <p:sldLayoutId id="214748426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Calibri" pitchFamily="34" charset="0"/>
          <a:ea typeface="SimSun" pitchFamily="2" charset="-122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ea typeface="SimSun" pitchFamily="2" charset="-122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Calibri" pitchFamily="34" charset="0"/>
          <a:ea typeface="SimSun" pitchFamily="2" charset="-122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SimSun" pitchFamily="2" charset="-122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3" descr="C:\Documents and Settings\鱼不愚\桌面\未标题-1副本.jp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6" descr="C:\Documents and Settings\鱼不愚\桌面\未标题-1副本.jp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42938"/>
            <a:ext cx="82296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3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sp>
        <p:nvSpPr>
          <p:cNvPr id="2054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2655AD8-1414-4DB6-8F49-E4DF1E9F6491}" type="datetimeFigureOut">
              <a:rPr lang="zh-CN" altLang="en-US"/>
              <a:pPr>
                <a:defRPr/>
              </a:pPr>
              <a:t>2015/5/6</a:t>
            </a:fld>
            <a:endParaRPr lang="zh-CN" altLang="en-US"/>
          </a:p>
        </p:txBody>
      </p:sp>
      <p:sp>
        <p:nvSpPr>
          <p:cNvPr id="2055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056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7669448-EE90-4F6C-83EE-1BF236E7429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84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经典特宋简" pitchFamily="1" charset="-122"/>
          <a:ea typeface="经典特宋简" pitchFamily="1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Calibri" pitchFamily="34" charset="0"/>
          <a:ea typeface="SimSun" pitchFamily="2" charset="-122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ea typeface="SimSun" pitchFamily="2" charset="-122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Calibri" pitchFamily="34" charset="0"/>
          <a:ea typeface="SimSun" pitchFamily="2" charset="-122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SimSun" pitchFamily="2" charset="-122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Calibri" pitchFamily="34" charset="0"/>
          <a:ea typeface="宋体" pitchFamily="2" charset="-122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slideLayout" Target="../slideLayouts/slideLayout13.xml"/><Relationship Id="rId63" Type="http://schemas.openxmlformats.org/officeDocument/2006/relationships/image" Target="../media/image9.png"/><Relationship Id="rId68" Type="http://schemas.openxmlformats.org/officeDocument/2006/relationships/image" Target="../media/image14.png"/><Relationship Id="rId76" Type="http://schemas.openxmlformats.org/officeDocument/2006/relationships/image" Target="../media/image22.jpeg"/><Relationship Id="rId7" Type="http://schemas.openxmlformats.org/officeDocument/2006/relationships/tags" Target="../tags/tag7.xml"/><Relationship Id="rId71" Type="http://schemas.openxmlformats.org/officeDocument/2006/relationships/image" Target="../media/image17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hyperlink" Target="ARIPO%20MS%20MAP.pptx#-1,1,Slide 1" TargetMode="External"/><Relationship Id="rId66" Type="http://schemas.openxmlformats.org/officeDocument/2006/relationships/image" Target="../media/image12.png"/><Relationship Id="rId74" Type="http://schemas.openxmlformats.org/officeDocument/2006/relationships/image" Target="../media/image20.jpeg"/><Relationship Id="rId79" Type="http://schemas.openxmlformats.org/officeDocument/2006/relationships/image" Target="../media/image25.jpeg"/><Relationship Id="rId5" Type="http://schemas.openxmlformats.org/officeDocument/2006/relationships/tags" Target="../tags/tag5.xml"/><Relationship Id="rId61" Type="http://schemas.openxmlformats.org/officeDocument/2006/relationships/image" Target="../media/image7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image" Target="../media/image6.png"/><Relationship Id="rId65" Type="http://schemas.openxmlformats.org/officeDocument/2006/relationships/image" Target="../media/image11.png"/><Relationship Id="rId73" Type="http://schemas.openxmlformats.org/officeDocument/2006/relationships/image" Target="../media/image19.jpeg"/><Relationship Id="rId78" Type="http://schemas.openxmlformats.org/officeDocument/2006/relationships/image" Target="../media/image24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notesSlide" Target="../notesSlides/notesSlide1.xml"/><Relationship Id="rId64" Type="http://schemas.openxmlformats.org/officeDocument/2006/relationships/image" Target="../media/image10.png"/><Relationship Id="rId69" Type="http://schemas.openxmlformats.org/officeDocument/2006/relationships/image" Target="../media/image15.png"/><Relationship Id="rId77" Type="http://schemas.openxmlformats.org/officeDocument/2006/relationships/image" Target="../media/image23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image" Target="../media/image18.jpe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hyperlink" Target="~$ARIPO%20MS%20-%20Potential%20MS%20MAP.pptx" TargetMode="External"/><Relationship Id="rId67" Type="http://schemas.openxmlformats.org/officeDocument/2006/relationships/image" Target="../media/image13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image" Target="../media/image8.png"/><Relationship Id="rId70" Type="http://schemas.openxmlformats.org/officeDocument/2006/relationships/image" Target="../media/image16.png"/><Relationship Id="rId75" Type="http://schemas.openxmlformats.org/officeDocument/2006/relationships/image" Target="../media/image21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hyperlink" Target="ARIPO%20MS%20MAP.pptx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1.vml"/><Relationship Id="rId5" Type="http://schemas.openxmlformats.org/officeDocument/2006/relationships/chart" Target="../charts/chart1.xml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内容占位符 2"/>
          <p:cNvSpPr txBox="1">
            <a:spLocks/>
          </p:cNvSpPr>
          <p:nvPr/>
        </p:nvSpPr>
        <p:spPr bwMode="auto">
          <a:xfrm>
            <a:off x="251520" y="2060848"/>
            <a:ext cx="864096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2400" b="1" dirty="0" smtClean="0"/>
              <a:t>SOUTH-SOUTH AND TRIANGULAR COOPERATION PARTNERSHIPS AND FOR ACCESS TO INFORMATION AND KNOWLEDGE: </a:t>
            </a:r>
          </a:p>
          <a:p>
            <a:pPr algn="ctr"/>
            <a:endParaRPr lang="en-US" sz="2400" b="1" dirty="0" smtClean="0"/>
          </a:p>
          <a:p>
            <a:pPr algn="ctr"/>
            <a:r>
              <a:rPr lang="en-US" sz="2400" u="sng" dirty="0" smtClean="0"/>
              <a:t>ARIPO </a:t>
            </a:r>
            <a:r>
              <a:rPr lang="en-US" sz="2400" u="sng" dirty="0"/>
              <a:t>AS AN EXAMPLE OF REGIONAL COOPERATION IN THE FIELD OF INTELLECTUAL PROPERTY</a:t>
            </a:r>
          </a:p>
          <a:p>
            <a:pPr algn="ctr"/>
            <a:endParaRPr lang="en-US" sz="2400" b="1" dirty="0"/>
          </a:p>
        </p:txBody>
      </p:sp>
      <p:sp>
        <p:nvSpPr>
          <p:cNvPr id="25603" name="TextBox 30"/>
          <p:cNvSpPr txBox="1">
            <a:spLocks noChangeArrowheads="1"/>
          </p:cNvSpPr>
          <p:nvPr/>
        </p:nvSpPr>
        <p:spPr bwMode="auto">
          <a:xfrm>
            <a:off x="6876256" y="5227241"/>
            <a:ext cx="252655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en-US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Lima, Peru</a:t>
            </a:r>
            <a:endParaRPr lang="en-ZW" altLang="en-US" b="1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en-US" altLang="en-US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May 5 and 6, 2015</a:t>
            </a:r>
            <a:endParaRPr lang="en-ZW" altLang="en-US" b="1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604" name="TextBox 5"/>
          <p:cNvSpPr>
            <a:spLocks noChangeArrowheads="1"/>
          </p:cNvSpPr>
          <p:nvPr/>
        </p:nvSpPr>
        <p:spPr bwMode="auto">
          <a:xfrm>
            <a:off x="3347863" y="4581128"/>
            <a:ext cx="36433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en-US" b="1" dirty="0" smtClean="0">
                <a:solidFill>
                  <a:srgbClr val="0671BA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  <a:sym typeface="Haettenschweiler" pitchFamily="34" charset="0"/>
              </a:rPr>
              <a:t>Emmanuel </a:t>
            </a:r>
            <a:r>
              <a:rPr lang="en-US" altLang="en-US" b="1" dirty="0" err="1" smtClean="0">
                <a:solidFill>
                  <a:srgbClr val="0671BA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  <a:sym typeface="Haettenschweiler" pitchFamily="34" charset="0"/>
              </a:rPr>
              <a:t>Sackey</a:t>
            </a:r>
            <a:endParaRPr lang="en-US" altLang="en-US" b="1" dirty="0">
              <a:solidFill>
                <a:srgbClr val="0671BA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  <a:sym typeface="Haettenschweiler" pitchFamily="34" charset="0"/>
            </a:endParaRPr>
          </a:p>
          <a:p>
            <a:pPr algn="ctr" eaLnBrk="1" hangingPunct="1"/>
            <a:r>
              <a:rPr lang="en-US" altLang="en-US" b="1" dirty="0" smtClean="0">
                <a:solidFill>
                  <a:srgbClr val="0671BA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  <a:sym typeface="Haettenschweiler" pitchFamily="34" charset="0"/>
              </a:rPr>
              <a:t>Chief Examiner</a:t>
            </a:r>
            <a:endParaRPr lang="en-US" altLang="en-US" b="1" dirty="0">
              <a:solidFill>
                <a:srgbClr val="0671BA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BEDC5C-0A64-46CA-9DD4-3F367C71EEA1}" type="slidenum">
              <a:rPr lang="en-US"/>
              <a:pPr/>
              <a:t>10</a:t>
            </a:fld>
            <a:endParaRPr lang="en-US" i="0">
              <a:solidFill>
                <a:schemeClr val="tx1"/>
              </a:solidFill>
            </a:endParaRPr>
          </a:p>
        </p:txBody>
      </p:sp>
      <p:sp>
        <p:nvSpPr>
          <p:cNvPr id="24623" name="Rectangle 47"/>
          <p:cNvSpPr>
            <a:spLocks noChangeArrowheads="1"/>
          </p:cNvSpPr>
          <p:nvPr/>
        </p:nvSpPr>
        <p:spPr bwMode="auto">
          <a:xfrm>
            <a:off x="5715000" y="3810000"/>
            <a:ext cx="2362200" cy="1371600"/>
          </a:xfrm>
          <a:prstGeom prst="rect">
            <a:avLst/>
          </a:prstGeom>
          <a:solidFill>
            <a:srgbClr val="CCECFF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188640"/>
            <a:ext cx="7086600" cy="914400"/>
          </a:xfrm>
          <a:solidFill>
            <a:srgbClr val="FFC000"/>
          </a:solidFill>
        </p:spPr>
        <p:txBody>
          <a:bodyPr/>
          <a:lstStyle/>
          <a:p>
            <a:pPr algn="ctr"/>
            <a:r>
              <a:rPr lang="fr-CA" dirty="0" err="1" smtClean="0"/>
              <a:t>Users</a:t>
            </a:r>
            <a:r>
              <a:rPr lang="fr-CA" dirty="0" smtClean="0"/>
              <a:t>, Uses and </a:t>
            </a:r>
            <a:r>
              <a:rPr lang="fr-CA" dirty="0" err="1" smtClean="0"/>
              <a:t>Levels</a:t>
            </a:r>
            <a:r>
              <a:rPr lang="fr-CA" dirty="0" smtClean="0"/>
              <a:t> of Use</a:t>
            </a:r>
            <a:endParaRPr lang="en-US" dirty="0"/>
          </a:p>
        </p:txBody>
      </p:sp>
      <p:sp>
        <p:nvSpPr>
          <p:cNvPr id="24583" name="AutoShape 7"/>
          <p:cNvSpPr>
            <a:spLocks noChangeArrowheads="1"/>
          </p:cNvSpPr>
          <p:nvPr/>
        </p:nvSpPr>
        <p:spPr bwMode="auto">
          <a:xfrm>
            <a:off x="3635896" y="1628800"/>
            <a:ext cx="1981200" cy="4191000"/>
          </a:xfrm>
          <a:custGeom>
            <a:avLst/>
            <a:gdLst>
              <a:gd name="G0" fmla="+- 4708 0 0"/>
              <a:gd name="G1" fmla="+- 21600 0 4708"/>
              <a:gd name="G2" fmla="*/ 4708 1 2"/>
              <a:gd name="G3" fmla="+- 21600 0 G2"/>
              <a:gd name="G4" fmla="+/ 4708 21600 2"/>
              <a:gd name="G5" fmla="+/ G1 0 2"/>
              <a:gd name="G6" fmla="*/ 21600 21600 4708"/>
              <a:gd name="G7" fmla="*/ G6 1 2"/>
              <a:gd name="G8" fmla="+- 21600 0 G7"/>
              <a:gd name="G9" fmla="*/ 21600 1 2"/>
              <a:gd name="G10" fmla="+- 4708 0 G9"/>
              <a:gd name="G11" fmla="?: G10 G8 0"/>
              <a:gd name="G12" fmla="?: G10 G7 21600"/>
              <a:gd name="T0" fmla="*/ 19246 w 21600"/>
              <a:gd name="T1" fmla="*/ 10800 h 21600"/>
              <a:gd name="T2" fmla="*/ 10800 w 21600"/>
              <a:gd name="T3" fmla="*/ 21600 h 21600"/>
              <a:gd name="T4" fmla="*/ 2354 w 21600"/>
              <a:gd name="T5" fmla="*/ 10800 h 21600"/>
              <a:gd name="T6" fmla="*/ 10800 w 21600"/>
              <a:gd name="T7" fmla="*/ 0 h 21600"/>
              <a:gd name="T8" fmla="*/ 4154 w 21600"/>
              <a:gd name="T9" fmla="*/ 4154 h 21600"/>
              <a:gd name="T10" fmla="*/ 17446 w 21600"/>
              <a:gd name="T11" fmla="*/ 17446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708" y="21600"/>
                </a:lnTo>
                <a:lnTo>
                  <a:pt x="16892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CCECFF">
                  <a:gamma/>
                  <a:shade val="0"/>
                  <a:invGamma/>
                </a:srgbClr>
              </a:gs>
              <a:gs pos="100000">
                <a:srgbClr val="CCEC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4584" name="Rectangle 8"/>
          <p:cNvSpPr>
            <a:spLocks noChangeArrowheads="1"/>
          </p:cNvSpPr>
          <p:nvPr/>
        </p:nvSpPr>
        <p:spPr bwMode="auto">
          <a:xfrm>
            <a:off x="971600" y="2895600"/>
            <a:ext cx="266429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600" dirty="0" smtClean="0">
                <a:latin typeface="Arial" pitchFamily="34" charset="0"/>
              </a:rPr>
              <a:t> </a:t>
            </a:r>
            <a:r>
              <a:rPr lang="fr-CA" dirty="0" err="1" smtClean="0">
                <a:latin typeface="Arial" pitchFamily="34" charset="0"/>
              </a:rPr>
              <a:t>Companies</a:t>
            </a:r>
            <a:r>
              <a:rPr lang="fr-CA" dirty="0" smtClean="0">
                <a:latin typeface="Arial" pitchFamily="34" charset="0"/>
              </a:rPr>
              <a:t> / </a:t>
            </a:r>
            <a:r>
              <a:rPr lang="fr-CA" dirty="0" err="1" smtClean="0">
                <a:latin typeface="Arial" pitchFamily="34" charset="0"/>
              </a:rPr>
              <a:t>SMEs</a:t>
            </a:r>
            <a:r>
              <a:rPr lang="fr-CA" sz="2600" dirty="0" smtClean="0">
                <a:latin typeface="Arial" pitchFamily="34" charset="0"/>
              </a:rPr>
              <a:t> </a:t>
            </a:r>
            <a:endParaRPr lang="en-US" sz="2600" dirty="0">
              <a:latin typeface="Arial" pitchFamily="34" charset="0"/>
            </a:endParaRPr>
          </a:p>
        </p:txBody>
      </p:sp>
      <p:sp>
        <p:nvSpPr>
          <p:cNvPr id="24585" name="Rectangle 9"/>
          <p:cNvSpPr>
            <a:spLocks noChangeArrowheads="1"/>
          </p:cNvSpPr>
          <p:nvPr/>
        </p:nvSpPr>
        <p:spPr bwMode="auto">
          <a:xfrm>
            <a:off x="1219200" y="2133600"/>
            <a:ext cx="1981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dirty="0" err="1">
                <a:latin typeface="Arial" pitchFamily="34" charset="0"/>
              </a:rPr>
              <a:t>Governmen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587" name="Rectangle 11"/>
          <p:cNvSpPr>
            <a:spLocks noChangeArrowheads="1"/>
          </p:cNvSpPr>
          <p:nvPr/>
        </p:nvSpPr>
        <p:spPr bwMode="auto">
          <a:xfrm>
            <a:off x="1447800" y="5257800"/>
            <a:ext cx="1981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dirty="0" err="1" smtClean="0">
                <a:latin typeface="Arial" pitchFamily="34" charset="0"/>
              </a:rPr>
              <a:t>Researcher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588" name="Line 12"/>
          <p:cNvSpPr>
            <a:spLocks noChangeShapeType="1"/>
          </p:cNvSpPr>
          <p:nvPr/>
        </p:nvSpPr>
        <p:spPr bwMode="auto">
          <a:xfrm>
            <a:off x="1905000" y="1905000"/>
            <a:ext cx="5105400" cy="0"/>
          </a:xfrm>
          <a:prstGeom prst="line">
            <a:avLst/>
          </a:prstGeom>
          <a:noFill/>
          <a:ln w="28575">
            <a:solidFill>
              <a:srgbClr val="CC33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89" name="Line 13"/>
          <p:cNvSpPr>
            <a:spLocks noChangeShapeType="1"/>
          </p:cNvSpPr>
          <p:nvPr/>
        </p:nvSpPr>
        <p:spPr bwMode="auto">
          <a:xfrm>
            <a:off x="1905000" y="2819400"/>
            <a:ext cx="5105400" cy="0"/>
          </a:xfrm>
          <a:prstGeom prst="line">
            <a:avLst/>
          </a:prstGeom>
          <a:noFill/>
          <a:ln w="28575">
            <a:solidFill>
              <a:srgbClr val="CC33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92" name="Line 16"/>
          <p:cNvSpPr>
            <a:spLocks noChangeShapeType="1"/>
          </p:cNvSpPr>
          <p:nvPr/>
        </p:nvSpPr>
        <p:spPr bwMode="auto">
          <a:xfrm>
            <a:off x="1905000" y="5105400"/>
            <a:ext cx="5105400" cy="0"/>
          </a:xfrm>
          <a:prstGeom prst="line">
            <a:avLst/>
          </a:prstGeom>
          <a:noFill/>
          <a:ln w="28575">
            <a:solidFill>
              <a:srgbClr val="CC33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93" name="Line 17"/>
          <p:cNvSpPr>
            <a:spLocks noChangeShapeType="1"/>
          </p:cNvSpPr>
          <p:nvPr/>
        </p:nvSpPr>
        <p:spPr bwMode="auto">
          <a:xfrm>
            <a:off x="8229600" y="1905000"/>
            <a:ext cx="0" cy="3429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94" name="Text Box 18"/>
          <p:cNvSpPr txBox="1">
            <a:spLocks noChangeArrowheads="1"/>
          </p:cNvSpPr>
          <p:nvPr/>
        </p:nvSpPr>
        <p:spPr bwMode="auto">
          <a:xfrm>
            <a:off x="1981200" y="4572000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24595" name="Rectangle 19"/>
          <p:cNvSpPr>
            <a:spLocks noChangeArrowheads="1"/>
          </p:cNvSpPr>
          <p:nvPr/>
        </p:nvSpPr>
        <p:spPr bwMode="auto">
          <a:xfrm>
            <a:off x="4038600" y="525780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b="1" dirty="0" smtClean="0">
                <a:latin typeface="Arial" pitchFamily="34" charset="0"/>
              </a:rPr>
              <a:t>10%</a:t>
            </a:r>
            <a:endParaRPr lang="en-US" b="1" dirty="0">
              <a:latin typeface="Arial" pitchFamily="34" charset="0"/>
            </a:endParaRPr>
          </a:p>
        </p:txBody>
      </p:sp>
      <p:sp>
        <p:nvSpPr>
          <p:cNvPr id="24596" name="Line 20"/>
          <p:cNvSpPr>
            <a:spLocks noChangeShapeType="1"/>
          </p:cNvSpPr>
          <p:nvPr/>
        </p:nvSpPr>
        <p:spPr bwMode="auto">
          <a:xfrm>
            <a:off x="5638800" y="1447800"/>
            <a:ext cx="0" cy="434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97" name="Line 21"/>
          <p:cNvSpPr>
            <a:spLocks noChangeShapeType="1"/>
          </p:cNvSpPr>
          <p:nvPr/>
        </p:nvSpPr>
        <p:spPr bwMode="auto">
          <a:xfrm>
            <a:off x="3505200" y="1447800"/>
            <a:ext cx="0" cy="434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599" name="Text Box 23"/>
          <p:cNvSpPr txBox="1">
            <a:spLocks noChangeArrowheads="1"/>
          </p:cNvSpPr>
          <p:nvPr/>
        </p:nvSpPr>
        <p:spPr bwMode="auto">
          <a:xfrm>
            <a:off x="8289925" y="1828800"/>
            <a:ext cx="549275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>
            <a:spAutoFit/>
          </a:bodyPr>
          <a:lstStyle/>
          <a:p>
            <a:pPr>
              <a:spcBef>
                <a:spcPct val="50000"/>
              </a:spcBef>
            </a:pPr>
            <a:r>
              <a:rPr lang="fr-CA"/>
              <a:t> Increasing level of detail</a:t>
            </a:r>
            <a:endParaRPr lang="en-US"/>
          </a:p>
        </p:txBody>
      </p:sp>
      <p:sp>
        <p:nvSpPr>
          <p:cNvPr id="24600" name="Rectangle 24"/>
          <p:cNvSpPr>
            <a:spLocks noChangeArrowheads="1"/>
          </p:cNvSpPr>
          <p:nvPr/>
        </p:nvSpPr>
        <p:spPr bwMode="auto">
          <a:xfrm>
            <a:off x="3419872" y="1268760"/>
            <a:ext cx="2286000" cy="4572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sz="3000" dirty="0" err="1" smtClean="0">
                <a:solidFill>
                  <a:srgbClr val="010000"/>
                </a:solidFill>
                <a:latin typeface="Arial" pitchFamily="34" charset="0"/>
              </a:rPr>
              <a:t>Analysis</a:t>
            </a:r>
            <a:endParaRPr lang="en-US" sz="3000" dirty="0">
              <a:solidFill>
                <a:srgbClr val="010000"/>
              </a:solidFill>
              <a:latin typeface="Arial" pitchFamily="34" charset="0"/>
            </a:endParaRPr>
          </a:p>
        </p:txBody>
      </p:sp>
      <p:sp>
        <p:nvSpPr>
          <p:cNvPr id="24601" name="Rectangle 25"/>
          <p:cNvSpPr>
            <a:spLocks noChangeArrowheads="1"/>
          </p:cNvSpPr>
          <p:nvPr/>
        </p:nvSpPr>
        <p:spPr bwMode="auto">
          <a:xfrm>
            <a:off x="6096000" y="5257800"/>
            <a:ext cx="1295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 err="1">
                <a:latin typeface="Arial" pitchFamily="34" charset="0"/>
              </a:rPr>
              <a:t>Technical</a:t>
            </a:r>
            <a:endParaRPr lang="en-US" sz="2000" dirty="0">
              <a:latin typeface="Arial" pitchFamily="34" charset="0"/>
            </a:endParaRPr>
          </a:p>
        </p:txBody>
      </p:sp>
      <p:sp>
        <p:nvSpPr>
          <p:cNvPr id="24602" name="Rectangle 26"/>
          <p:cNvSpPr>
            <a:spLocks noChangeArrowheads="1"/>
          </p:cNvSpPr>
          <p:nvPr/>
        </p:nvSpPr>
        <p:spPr bwMode="auto">
          <a:xfrm>
            <a:off x="838200" y="1295400"/>
            <a:ext cx="2286000" cy="4572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sz="3000" dirty="0" err="1" smtClean="0">
                <a:solidFill>
                  <a:srgbClr val="010000"/>
                </a:solidFill>
                <a:latin typeface="Arial" pitchFamily="34" charset="0"/>
              </a:rPr>
              <a:t>Users</a:t>
            </a:r>
            <a:endParaRPr lang="en-US" sz="3000" dirty="0">
              <a:solidFill>
                <a:srgbClr val="010000"/>
              </a:solidFill>
              <a:latin typeface="Arial" pitchFamily="34" charset="0"/>
            </a:endParaRPr>
          </a:p>
        </p:txBody>
      </p:sp>
      <p:sp>
        <p:nvSpPr>
          <p:cNvPr id="24603" name="Rectangle 27"/>
          <p:cNvSpPr>
            <a:spLocks noChangeArrowheads="1"/>
          </p:cNvSpPr>
          <p:nvPr/>
        </p:nvSpPr>
        <p:spPr bwMode="auto">
          <a:xfrm>
            <a:off x="5867400" y="1295400"/>
            <a:ext cx="2286000" cy="4572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sz="3000" dirty="0" smtClean="0">
                <a:solidFill>
                  <a:srgbClr val="010000"/>
                </a:solidFill>
                <a:latin typeface="Arial" pitchFamily="34" charset="0"/>
              </a:rPr>
              <a:t>Uses</a:t>
            </a:r>
            <a:endParaRPr lang="en-US" sz="3000" dirty="0">
              <a:solidFill>
                <a:srgbClr val="010000"/>
              </a:solidFill>
              <a:latin typeface="Arial" pitchFamily="34" charset="0"/>
            </a:endParaRPr>
          </a:p>
        </p:txBody>
      </p:sp>
      <p:sp>
        <p:nvSpPr>
          <p:cNvPr id="24604" name="Rectangle 28"/>
          <p:cNvSpPr>
            <a:spLocks noChangeArrowheads="1"/>
          </p:cNvSpPr>
          <p:nvPr/>
        </p:nvSpPr>
        <p:spPr bwMode="auto">
          <a:xfrm>
            <a:off x="5791200" y="3962400"/>
            <a:ext cx="2286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US" sz="2000" dirty="0">
              <a:latin typeface="Arial" pitchFamily="34" charset="0"/>
            </a:endParaRPr>
          </a:p>
        </p:txBody>
      </p:sp>
      <p:sp>
        <p:nvSpPr>
          <p:cNvPr id="24605" name="Rectangle 29"/>
          <p:cNvSpPr>
            <a:spLocks noChangeArrowheads="1"/>
          </p:cNvSpPr>
          <p:nvPr/>
        </p:nvSpPr>
        <p:spPr bwMode="auto">
          <a:xfrm>
            <a:off x="5796136" y="2924944"/>
            <a:ext cx="2286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 smtClean="0">
                <a:latin typeface="Arial" pitchFamily="34" charset="0"/>
              </a:rPr>
              <a:t>Project orientation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 err="1" smtClean="0"/>
              <a:t>Commercialization</a:t>
            </a:r>
            <a:endParaRPr lang="en-US" sz="2000" dirty="0">
              <a:latin typeface="Arial" pitchFamily="34" charset="0"/>
            </a:endParaRPr>
          </a:p>
        </p:txBody>
      </p:sp>
      <p:sp>
        <p:nvSpPr>
          <p:cNvPr id="24606" name="Rectangle 30"/>
          <p:cNvSpPr>
            <a:spLocks noChangeArrowheads="1"/>
          </p:cNvSpPr>
          <p:nvPr/>
        </p:nvSpPr>
        <p:spPr bwMode="auto">
          <a:xfrm>
            <a:off x="5791200" y="2819400"/>
            <a:ext cx="198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US" sz="2000">
              <a:latin typeface="Arial" pitchFamily="34" charset="0"/>
            </a:endParaRPr>
          </a:p>
        </p:txBody>
      </p:sp>
      <p:sp>
        <p:nvSpPr>
          <p:cNvPr id="24607" name="Rectangle 31"/>
          <p:cNvSpPr>
            <a:spLocks noChangeArrowheads="1"/>
          </p:cNvSpPr>
          <p:nvPr/>
        </p:nvSpPr>
        <p:spPr bwMode="auto">
          <a:xfrm>
            <a:off x="5652120" y="2133600"/>
            <a:ext cx="2304256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>
                <a:latin typeface="Arial" pitchFamily="34" charset="0"/>
              </a:rPr>
              <a:t>National </a:t>
            </a:r>
            <a:r>
              <a:rPr lang="fr-CA" sz="2000" dirty="0" smtClean="0">
                <a:latin typeface="Arial" pitchFamily="34" charset="0"/>
              </a:rPr>
              <a:t>Policy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 err="1" smtClean="0"/>
              <a:t>Strategic</a:t>
            </a:r>
            <a:r>
              <a:rPr lang="fr-CA" sz="2000" dirty="0" smtClean="0"/>
              <a:t> Planning</a:t>
            </a:r>
            <a:endParaRPr lang="en-US" sz="2000" dirty="0">
              <a:latin typeface="Arial" pitchFamily="34" charset="0"/>
            </a:endParaRPr>
          </a:p>
        </p:txBody>
      </p:sp>
      <p:sp>
        <p:nvSpPr>
          <p:cNvPr id="24608" name="Rectangle 32"/>
          <p:cNvSpPr>
            <a:spLocks noChangeArrowheads="1"/>
          </p:cNvSpPr>
          <p:nvPr/>
        </p:nvSpPr>
        <p:spPr bwMode="auto">
          <a:xfrm>
            <a:off x="3810000" y="4267200"/>
            <a:ext cx="152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b="1" dirty="0" smtClean="0">
                <a:latin typeface="Arial" pitchFamily="34" charset="0"/>
              </a:rPr>
              <a:t>10%</a:t>
            </a:r>
            <a:endParaRPr lang="en-US" b="1" dirty="0">
              <a:latin typeface="Arial" pitchFamily="34" charset="0"/>
            </a:endParaRPr>
          </a:p>
        </p:txBody>
      </p:sp>
      <p:sp>
        <p:nvSpPr>
          <p:cNvPr id="24609" name="Rectangle 33"/>
          <p:cNvSpPr>
            <a:spLocks noChangeArrowheads="1"/>
          </p:cNvSpPr>
          <p:nvPr/>
        </p:nvSpPr>
        <p:spPr bwMode="auto">
          <a:xfrm>
            <a:off x="4038600" y="365760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US" dirty="0">
              <a:latin typeface="Arial" pitchFamily="34" charset="0"/>
            </a:endParaRPr>
          </a:p>
        </p:txBody>
      </p:sp>
      <p:sp>
        <p:nvSpPr>
          <p:cNvPr id="24610" name="Rectangle 34"/>
          <p:cNvSpPr>
            <a:spLocks noChangeArrowheads="1"/>
          </p:cNvSpPr>
          <p:nvPr/>
        </p:nvSpPr>
        <p:spPr bwMode="auto">
          <a:xfrm>
            <a:off x="4114800" y="29718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dirty="0" smtClean="0">
                <a:solidFill>
                  <a:schemeClr val="bg1"/>
                </a:solidFill>
                <a:latin typeface="Arial" pitchFamily="34" charset="0"/>
              </a:rPr>
              <a:t>20%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611" name="Rectangle 35"/>
          <p:cNvSpPr>
            <a:spLocks noChangeArrowheads="1"/>
          </p:cNvSpPr>
          <p:nvPr/>
        </p:nvSpPr>
        <p:spPr bwMode="auto">
          <a:xfrm>
            <a:off x="3886200" y="2057400"/>
            <a:ext cx="1447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fr-CA" dirty="0" smtClean="0">
                <a:solidFill>
                  <a:schemeClr val="bg1"/>
                </a:solidFill>
                <a:latin typeface="Arial" pitchFamily="34" charset="0"/>
              </a:rPr>
              <a:t>60%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612" name="Line 36"/>
          <p:cNvSpPr>
            <a:spLocks noChangeShapeType="1"/>
          </p:cNvSpPr>
          <p:nvPr/>
        </p:nvSpPr>
        <p:spPr bwMode="auto">
          <a:xfrm flipH="1">
            <a:off x="1905000" y="3886200"/>
            <a:ext cx="3810000" cy="0"/>
          </a:xfrm>
          <a:prstGeom prst="line">
            <a:avLst/>
          </a:prstGeom>
          <a:noFill/>
          <a:ln w="28575" cap="rnd">
            <a:solidFill>
              <a:srgbClr val="CC33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616" name="Rectangle 40"/>
          <p:cNvSpPr>
            <a:spLocks noChangeArrowheads="1"/>
          </p:cNvSpPr>
          <p:nvPr/>
        </p:nvSpPr>
        <p:spPr bwMode="auto">
          <a:xfrm>
            <a:off x="1066800" y="4038600"/>
            <a:ext cx="2286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dirty="0" smtClean="0">
                <a:latin typeface="Arial" pitchFamily="34" charset="0"/>
              </a:rPr>
              <a:t> IP Agents and Attorney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617" name="Line 41"/>
          <p:cNvSpPr>
            <a:spLocks noChangeShapeType="1"/>
          </p:cNvSpPr>
          <p:nvPr/>
        </p:nvSpPr>
        <p:spPr bwMode="auto">
          <a:xfrm flipH="1">
            <a:off x="5715000" y="3886200"/>
            <a:ext cx="1371600" cy="0"/>
          </a:xfrm>
          <a:prstGeom prst="line">
            <a:avLst/>
          </a:prstGeom>
          <a:noFill/>
          <a:ln w="28575" cap="rnd">
            <a:solidFill>
              <a:srgbClr val="CC33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619" name="Rectangle 43"/>
          <p:cNvSpPr>
            <a:spLocks noChangeArrowheads="1"/>
          </p:cNvSpPr>
          <p:nvPr/>
        </p:nvSpPr>
        <p:spPr bwMode="auto">
          <a:xfrm>
            <a:off x="5796136" y="4221088"/>
            <a:ext cx="2286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fr-CA" sz="2000" dirty="0" err="1" smtClean="0">
                <a:latin typeface="Arial" pitchFamily="34" charset="0"/>
              </a:rPr>
              <a:t>Validity</a:t>
            </a:r>
            <a:r>
              <a:rPr lang="fr-CA" sz="2000" dirty="0" smtClean="0">
                <a:latin typeface="Arial" pitchFamily="34" charset="0"/>
              </a:rPr>
              <a:t> and </a:t>
            </a:r>
            <a:r>
              <a:rPr lang="fr-CA" sz="2000" dirty="0" err="1" smtClean="0">
                <a:latin typeface="Arial" pitchFamily="34" charset="0"/>
              </a:rPr>
              <a:t>Legal</a:t>
            </a:r>
            <a:r>
              <a:rPr lang="fr-CA" sz="2000" dirty="0" smtClean="0">
                <a:latin typeface="Arial" pitchFamily="34" charset="0"/>
              </a:rPr>
              <a:t> </a:t>
            </a:r>
            <a:r>
              <a:rPr lang="fr-CA" sz="2000" dirty="0" err="1" smtClean="0">
                <a:latin typeface="Arial" pitchFamily="34" charset="0"/>
              </a:rPr>
              <a:t>status</a:t>
            </a:r>
            <a:endParaRPr lang="en-US" sz="2000" dirty="0">
              <a:latin typeface="Arial" pitchFamily="34" charset="0"/>
            </a:endParaRPr>
          </a:p>
        </p:txBody>
      </p:sp>
      <p:sp>
        <p:nvSpPr>
          <p:cNvPr id="24620" name="Rectangle 44"/>
          <p:cNvSpPr>
            <a:spLocks noChangeArrowheads="1"/>
          </p:cNvSpPr>
          <p:nvPr/>
        </p:nvSpPr>
        <p:spPr bwMode="auto">
          <a:xfrm>
            <a:off x="5791200" y="4495800"/>
            <a:ext cx="2286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US" sz="2000">
              <a:latin typeface="Arial" pitchFamily="34" charset="0"/>
            </a:endParaRPr>
          </a:p>
        </p:txBody>
      </p:sp>
      <p:sp>
        <p:nvSpPr>
          <p:cNvPr id="24621" name="Line 45"/>
          <p:cNvSpPr>
            <a:spLocks noChangeShapeType="1"/>
          </p:cNvSpPr>
          <p:nvPr/>
        </p:nvSpPr>
        <p:spPr bwMode="auto">
          <a:xfrm>
            <a:off x="762000" y="1981200"/>
            <a:ext cx="0" cy="3429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arrow" w="med" len="med"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622" name="Text Box 46"/>
          <p:cNvSpPr txBox="1">
            <a:spLocks noChangeArrowheads="1"/>
          </p:cNvSpPr>
          <p:nvPr/>
        </p:nvSpPr>
        <p:spPr bwMode="auto">
          <a:xfrm rot="10800000">
            <a:off x="136525" y="1981200"/>
            <a:ext cx="549275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>
            <a:spAutoFit/>
          </a:bodyPr>
          <a:lstStyle/>
          <a:p>
            <a:pPr>
              <a:spcBef>
                <a:spcPct val="50000"/>
              </a:spcBef>
            </a:pPr>
            <a:r>
              <a:rPr lang="fr-CA"/>
              <a:t> Increasing level of metrics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6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774700"/>
          </a:xfrm>
        </p:spPr>
        <p:txBody>
          <a:bodyPr/>
          <a:lstStyle/>
          <a:p>
            <a:r>
              <a:rPr lang="en-US" sz="2400" b="1" dirty="0" smtClean="0"/>
              <a:t>ARIPO ROVING SEMINARS ON MAKING BETTER USE OF IP FOR BUSINESS COMPETITIVENESS AND DEVELOPMENT – LAUNCHED IN JAN. 2013</a:t>
            </a:r>
            <a:endParaRPr lang="en-US" sz="2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4525963"/>
          </a:xfrm>
        </p:spPr>
        <p:txBody>
          <a:bodyPr/>
          <a:lstStyle/>
          <a:p>
            <a:r>
              <a:rPr lang="en-US" sz="2800" dirty="0" smtClean="0"/>
              <a:t>Focuses on  Parliamentarians, Policy Makers, Business Community and Users of the ARIPO system</a:t>
            </a:r>
          </a:p>
          <a:p>
            <a:r>
              <a:rPr lang="en-US" sz="2800" dirty="0" smtClean="0"/>
              <a:t>Held Roving Seminars in 6 African Countries in 2014 and visited 3 Users.  Targeted 8 Countries and 4 users in 2015</a:t>
            </a:r>
          </a:p>
          <a:p>
            <a:r>
              <a:rPr lang="en-US" sz="2800" dirty="0" smtClean="0"/>
              <a:t>Within 1 year – ARIPO’s patent filings have increased by 20%</a:t>
            </a:r>
          </a:p>
          <a:p>
            <a:r>
              <a:rPr lang="en-US" sz="2800" dirty="0" smtClean="0"/>
              <a:t>Have also seen increased accession/ratification of ARIPO Legal Instruments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273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000" y="260648"/>
            <a:ext cx="9001000" cy="774700"/>
          </a:xfrm>
        </p:spPr>
        <p:txBody>
          <a:bodyPr/>
          <a:lstStyle/>
          <a:p>
            <a:pPr algn="ctr"/>
            <a:r>
              <a:rPr lang="en-US" sz="2800" b="1" dirty="0" smtClean="0"/>
              <a:t>ARIPO’s RECENT COOPERATION WITH KOREA – ARIPO-WIPO-KOICA-KIPO </a:t>
            </a:r>
            <a:br>
              <a:rPr lang="en-US" sz="2800" b="1" dirty="0" smtClean="0"/>
            </a:br>
            <a:r>
              <a:rPr lang="en-US" sz="2800" b="1" dirty="0" smtClean="0"/>
              <a:t> Launched on March 24, 2015</a:t>
            </a:r>
            <a:endParaRPr lang="en-US" sz="2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1412776"/>
            <a:ext cx="8928992" cy="4525963"/>
          </a:xfrm>
        </p:spPr>
        <p:txBody>
          <a:bodyPr/>
          <a:lstStyle/>
          <a:p>
            <a:r>
              <a:rPr lang="en-US" sz="3200" dirty="0" smtClean="0"/>
              <a:t>POLITE + (ARIPO Secretariat and Member States Information sharing system)</a:t>
            </a:r>
          </a:p>
          <a:p>
            <a:pPr marL="0" indent="0">
              <a:buNone/>
            </a:pPr>
            <a:endParaRPr lang="en-US" sz="3200" dirty="0" smtClean="0"/>
          </a:p>
          <a:p>
            <a:endParaRPr lang="en-US" sz="3200" dirty="0"/>
          </a:p>
          <a:p>
            <a:r>
              <a:rPr lang="en-US" sz="3200" dirty="0" smtClean="0"/>
              <a:t>e-SERVICE (Public online system)</a:t>
            </a:r>
          </a:p>
          <a:p>
            <a:endParaRPr lang="en-US" sz="3200" dirty="0" smtClean="0"/>
          </a:p>
          <a:p>
            <a:endParaRPr lang="en-US" sz="3200" dirty="0"/>
          </a:p>
          <a:p>
            <a:r>
              <a:rPr lang="en-US" sz="3200" dirty="0" smtClean="0"/>
              <a:t>Data Exchange Services</a:t>
            </a:r>
            <a:endParaRPr lang="en-US" sz="3200" dirty="0"/>
          </a:p>
        </p:txBody>
      </p:sp>
      <p:pic>
        <p:nvPicPr>
          <p:cNvPr id="4" name="Picture 6" descr="https://encrypted-tbn1.gstatic.com/images?q=tbn:ANd9GcTHsbeID8ij6r6Oh34bDLEsG_JopFhu-dlxrbl9SEFWBCqiqvy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365104"/>
            <a:ext cx="2051720" cy="158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 descr="https://encrypted-tbn2.gstatic.com/images?q=tbn:ANd9GcRPkhtat2Vg6G0GuYezsrIxuhJ2qPIsMQvEc8kd_7ywT-myVLY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3036193"/>
            <a:ext cx="2044824" cy="1530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innovations in rwand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2060848"/>
            <a:ext cx="2044824" cy="141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7262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0"/>
            <a:ext cx="8229600" cy="774700"/>
          </a:xfrm>
        </p:spPr>
        <p:txBody>
          <a:bodyPr/>
          <a:lstStyle/>
          <a:p>
            <a:r>
              <a:rPr lang="en-US" dirty="0" smtClean="0"/>
              <a:t>ARIPO –WIPO COOPE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80728"/>
            <a:ext cx="9144000" cy="4525963"/>
          </a:xfrm>
        </p:spPr>
        <p:txBody>
          <a:bodyPr/>
          <a:lstStyle/>
          <a:p>
            <a:r>
              <a:rPr lang="en-US" sz="2400" b="1" dirty="0" smtClean="0"/>
              <a:t>Establishment of TISCs in Selected Institutions in the ARIPO Member States and Africa</a:t>
            </a:r>
          </a:p>
          <a:p>
            <a:endParaRPr lang="en-US" sz="2400" b="1" dirty="0" smtClean="0"/>
          </a:p>
          <a:p>
            <a:r>
              <a:rPr lang="en-US" sz="2400" b="1" dirty="0" smtClean="0"/>
              <a:t>Establishment of Technology Transfer Offices TTOs and IP Units/Offices in the Universities and R&amp;D Institutions</a:t>
            </a:r>
          </a:p>
          <a:p>
            <a:endParaRPr lang="en-US" sz="2400" b="1" dirty="0" smtClean="0"/>
          </a:p>
          <a:p>
            <a:r>
              <a:rPr lang="en-US" sz="2400" b="1" dirty="0" smtClean="0"/>
              <a:t>Joint Regional and Sub-regional Sensitization and awareness raising </a:t>
            </a:r>
            <a:r>
              <a:rPr lang="en-US" sz="2400" b="1" dirty="0" err="1" smtClean="0"/>
              <a:t>programmes</a:t>
            </a:r>
            <a:r>
              <a:rPr lang="en-US" sz="2400" b="1" dirty="0" smtClean="0"/>
              <a:t> on IP and use of Technological Information for R&amp;D</a:t>
            </a:r>
          </a:p>
          <a:p>
            <a:endParaRPr lang="en-US" sz="2400" b="1" dirty="0" smtClean="0"/>
          </a:p>
          <a:p>
            <a:r>
              <a:rPr lang="en-US" sz="2400" b="1" dirty="0" smtClean="0"/>
              <a:t>WIPO IP development matchmaking database  and WIPO </a:t>
            </a:r>
            <a:r>
              <a:rPr lang="en-US" sz="2400" b="1" dirty="0" err="1" smtClean="0"/>
              <a:t>Re:Search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2774074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088"/>
            <a:ext cx="8229600" cy="774700"/>
          </a:xfrm>
        </p:spPr>
        <p:txBody>
          <a:bodyPr/>
          <a:lstStyle/>
          <a:p>
            <a:r>
              <a:rPr lang="en-US" sz="2800" dirty="0" smtClean="0"/>
              <a:t>SOUTH-SOUTH COOPERATION ON CAPACITY BUILDING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836712"/>
            <a:ext cx="8229600" cy="4525963"/>
          </a:xfrm>
        </p:spPr>
        <p:txBody>
          <a:bodyPr/>
          <a:lstStyle/>
          <a:p>
            <a:r>
              <a:rPr lang="en-US" dirty="0" smtClean="0"/>
              <a:t>Joint WIPO-ARIIPO-African University Masters in Intellectual Property </a:t>
            </a:r>
            <a:r>
              <a:rPr lang="en-US" dirty="0" err="1" smtClean="0"/>
              <a:t>Programme</a:t>
            </a:r>
            <a:r>
              <a:rPr lang="en-US" dirty="0" smtClean="0"/>
              <a:t> hosted at the Africa University in </a:t>
            </a:r>
            <a:r>
              <a:rPr lang="en-US" dirty="0" err="1" smtClean="0"/>
              <a:t>Mutare</a:t>
            </a:r>
            <a:r>
              <a:rPr lang="en-US" dirty="0" smtClean="0"/>
              <a:t>, Zimbabwe – Over 170 graduates  produced between 2008-2014</a:t>
            </a:r>
          </a:p>
          <a:p>
            <a:endParaRPr lang="en-US" dirty="0"/>
          </a:p>
          <a:p>
            <a:r>
              <a:rPr lang="en-US" dirty="0" smtClean="0"/>
              <a:t>Joint WIPO-ARIPO –KIPO training on ICT Tools (IPAS and Polite+) for business processes at ARIPO and the IPOs of its Member States</a:t>
            </a:r>
          </a:p>
          <a:p>
            <a:endParaRPr lang="en-US" dirty="0"/>
          </a:p>
          <a:p>
            <a:r>
              <a:rPr lang="en-US" dirty="0" smtClean="0"/>
              <a:t>WIPO-ARIPO-IP Australia Regional Patent Examination Training for ARIPO Office Examiners and those of its Member States</a:t>
            </a:r>
          </a:p>
          <a:p>
            <a:r>
              <a:rPr lang="en-US" dirty="0" smtClean="0"/>
              <a:t>ARIPO-OHIM training on Trademarks and Designs</a:t>
            </a:r>
          </a:p>
          <a:p>
            <a:endParaRPr lang="en-US" dirty="0"/>
          </a:p>
          <a:p>
            <a:r>
              <a:rPr lang="en-US" dirty="0" smtClean="0"/>
              <a:t>ARIPO-USPTO training of Examiners (Trademarks and Patents) in the ARIPO Member States</a:t>
            </a:r>
          </a:p>
          <a:p>
            <a:endParaRPr lang="en-US" dirty="0" smtClean="0"/>
          </a:p>
          <a:p>
            <a:r>
              <a:rPr lang="en-US" dirty="0" smtClean="0"/>
              <a:t>ARIPO-UPOV-USPTO workshops on Plant Variety Protection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362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74700"/>
          </a:xfrm>
          <a:solidFill>
            <a:srgbClr val="FFC000"/>
          </a:solidFill>
        </p:spPr>
        <p:txBody>
          <a:bodyPr/>
          <a:lstStyle/>
          <a:p>
            <a:pPr algn="ctr"/>
            <a:r>
              <a:rPr lang="en-US" sz="2000" dirty="0" smtClean="0"/>
              <a:t>SOUTH-SOUTH COOPERATION: CHALLENGES AND WAY FORWARD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764704"/>
            <a:ext cx="8964488" cy="4525963"/>
          </a:xfrm>
        </p:spPr>
        <p:txBody>
          <a:bodyPr/>
          <a:lstStyle/>
          <a:p>
            <a:r>
              <a:rPr lang="en-US" sz="1800" dirty="0" smtClean="0"/>
              <a:t>Need to provide effective platform in a WIN-WIN context to facilitate sharing of ideas, strengthening  of cooperation and using of information tools and systems to build on individual and collective accomplishments and also  address country-specific needs and expectations</a:t>
            </a:r>
          </a:p>
          <a:p>
            <a:endParaRPr lang="en-US" sz="1800" dirty="0" smtClean="0"/>
          </a:p>
          <a:p>
            <a:r>
              <a:rPr lang="en-US" sz="1800" dirty="0" smtClean="0"/>
              <a:t>To provide evidence-based analysis to support the need for developing Countries and LDCs to utilize IP as a tool for wealth creation and nation building</a:t>
            </a:r>
          </a:p>
          <a:p>
            <a:endParaRPr lang="en-US" sz="1800" dirty="0"/>
          </a:p>
          <a:p>
            <a:r>
              <a:rPr lang="en-US" sz="1800" dirty="0" smtClean="0"/>
              <a:t>To develop effective matchmaking mechanisms for enhancing value addition of resources where the southern providers have comparative advantage</a:t>
            </a:r>
          </a:p>
          <a:p>
            <a:endParaRPr lang="en-US" sz="1800" dirty="0" smtClean="0"/>
          </a:p>
          <a:p>
            <a:r>
              <a:rPr lang="en-US" sz="1800" dirty="0" smtClean="0"/>
              <a:t>To build synergies to shape the global IP architecture and normative processes for the levelling of the IP playing field</a:t>
            </a:r>
          </a:p>
          <a:p>
            <a:endParaRPr lang="en-US" dirty="0" smtClean="0"/>
          </a:p>
          <a:p>
            <a:r>
              <a:rPr lang="en-US" sz="1800" dirty="0" smtClean="0"/>
              <a:t>To mainstream SSC in WIPO  Program of Activities with the requisite budget for the next biennium to enable WIPO to develop concrete activities  for the achievement of the WIPO Development Agenda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2372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813" y="3933825"/>
            <a:ext cx="72009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ZW" sz="24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ackey@aripo.org</a:t>
            </a:r>
            <a:endParaRPr lang="en-ZW" sz="2400" b="1" kern="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548640" lvl="1" indent="-27432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		</a:t>
            </a:r>
          </a:p>
          <a:p>
            <a:pPr marL="548640" lvl="1" indent="-27432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2400" b="1" kern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184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96" y="-171400"/>
            <a:ext cx="8928992" cy="1008112"/>
          </a:xfrm>
        </p:spPr>
        <p:txBody>
          <a:bodyPr/>
          <a:lstStyle/>
          <a:p>
            <a:pPr algn="ctr"/>
            <a:r>
              <a:rPr lang="en-US" b="1" dirty="0" smtClean="0"/>
              <a:t>REGIONAL COOPERATION ON IP IN AFRICA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504" y="548680"/>
            <a:ext cx="4464496" cy="639762"/>
          </a:xfrm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 algn="ctr"/>
            <a:r>
              <a:rPr lang="en-US" dirty="0" smtClean="0"/>
              <a:t>ARIP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7504" y="1124744"/>
            <a:ext cx="4536504" cy="4824536"/>
          </a:xfrm>
          <a:solidFill>
            <a:srgbClr val="FFC000"/>
          </a:solidFill>
        </p:spPr>
        <p:txBody>
          <a:bodyPr/>
          <a:lstStyle/>
          <a:p>
            <a:pPr marL="0" lvl="2" indent="0" fontAlgn="auto">
              <a:lnSpc>
                <a:spcPct val="12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ARIPO: African Regional Intellectual Property Organization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pt-PT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Established: December 9, 1976 (as ESARIPO)</a:t>
            </a:r>
          </a:p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2"/>
              </a:buBlip>
              <a:defRPr/>
            </a:pPr>
            <a:endParaRPr lang="en-GB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Instrument of creation: Lusaka Agreement (in Zambia)</a:t>
            </a:r>
          </a:p>
          <a:p>
            <a:pPr marL="0" indent="0">
              <a:buNone/>
              <a:defRPr/>
            </a:pPr>
            <a:endParaRPr lang="pt-PT" altLang="en-US" sz="1600" b="1" dirty="0">
              <a:latin typeface="Gill Sans MT" pitchFamily="34" charset="0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en-GB" altLang="en-US" sz="1600" b="1" dirty="0">
                <a:latin typeface="Gill Sans MT" pitchFamily="34" charset="0"/>
                <a:ea typeface="宋体" pitchFamily="2" charset="-122"/>
              </a:rPr>
              <a:t>Headquarters: Harare, Zimbabwe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en-GB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12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Member States (19): </a:t>
            </a:r>
            <a:r>
              <a:rPr lang="en-GB" altLang="en-US" sz="1600" b="1" dirty="0">
                <a:latin typeface="Gill Sans MT" pitchFamily="34" charset="0"/>
                <a:ea typeface="宋体" pitchFamily="2" charset="-122"/>
              </a:rPr>
              <a:t>Botswana, Ghana, Kenya, Lesotho, Liberia, Malawi, Mozambique, Namibia, Rwanda, Sao Tome &amp; Principe, Sierra Leone, Somalia, Sudan, Swaziland, The Gambia, Uganda, United Republic of Tanzania, Zambia and Zimbabwe</a:t>
            </a:r>
          </a:p>
          <a:p>
            <a:endParaRPr lang="en-US" sz="14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548680"/>
            <a:ext cx="4320480" cy="639762"/>
          </a:xfrm>
          <a:solidFill>
            <a:srgbClr val="FFC000"/>
          </a:solidFill>
        </p:spPr>
        <p:txBody>
          <a:bodyPr/>
          <a:lstStyle/>
          <a:p>
            <a:pPr algn="ctr"/>
            <a:r>
              <a:rPr lang="en-US" dirty="0" smtClean="0"/>
              <a:t>OAPI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016" y="1124744"/>
            <a:ext cx="4320480" cy="4824536"/>
          </a:xfrm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 marL="0" lvl="2" indent="0" fontAlgn="auto">
              <a:lnSpc>
                <a:spcPct val="120000"/>
              </a:lnSpc>
              <a:spcAft>
                <a:spcPts val="0"/>
              </a:spcAft>
              <a:buNone/>
              <a:defRPr/>
            </a:pPr>
            <a:r>
              <a:rPr lang="en-ZW" sz="1600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sz="1600" b="1" dirty="0">
                <a:latin typeface="Gill Sans MT" pitchFamily="34" charset="0"/>
                <a:ea typeface="宋体" pitchFamily="2" charset="-122"/>
                <a:cs typeface="Times New Roman" pitchFamily="18" charset="0"/>
                <a:sym typeface="Wingdings 2"/>
              </a:rPr>
              <a:t>OAPI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: African Intellectual Property Organization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pt-PT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Established: 22 September 1962</a:t>
            </a:r>
          </a:p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2"/>
              </a:buBlip>
              <a:defRPr/>
            </a:pPr>
            <a:endParaRPr lang="en-GB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Instrument of creation: Libreville Agreement (in Gabon)</a:t>
            </a:r>
          </a:p>
          <a:p>
            <a:pPr marL="0" indent="0">
              <a:buNone/>
              <a:defRPr/>
            </a:pPr>
            <a:endParaRPr lang="pt-PT" altLang="en-US" sz="1600" b="1" dirty="0">
              <a:latin typeface="Gill Sans MT" pitchFamily="34" charset="0"/>
            </a:endParaRP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en-GB" altLang="en-US" sz="1600" b="1" dirty="0">
                <a:latin typeface="Gill Sans MT" pitchFamily="34" charset="0"/>
                <a:ea typeface="宋体" pitchFamily="2" charset="-122"/>
              </a:rPr>
              <a:t>Headquarters: </a:t>
            </a:r>
            <a:r>
              <a:rPr lang="en-GB" altLang="en-US" sz="1600" b="1" dirty="0" err="1">
                <a:latin typeface="Gill Sans MT" pitchFamily="34" charset="0"/>
                <a:ea typeface="宋体" pitchFamily="2" charset="-122"/>
              </a:rPr>
              <a:t>Yaounde</a:t>
            </a:r>
            <a:r>
              <a:rPr lang="en-GB" altLang="en-US" sz="1600" b="1" dirty="0">
                <a:latin typeface="Gill Sans MT" pitchFamily="34" charset="0"/>
                <a:ea typeface="宋体" pitchFamily="2" charset="-122"/>
              </a:rPr>
              <a:t>, Cameroun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en-GB" altLang="en-US" sz="1600" b="1" dirty="0">
              <a:latin typeface="Gill Sans MT" pitchFamily="34" charset="0"/>
              <a:ea typeface="宋体" pitchFamily="2" charset="-122"/>
            </a:endParaRPr>
          </a:p>
          <a:p>
            <a:pPr marL="0" lvl="2" indent="0" fontAlgn="auto">
              <a:lnSpc>
                <a:spcPct val="120000"/>
              </a:lnSpc>
              <a:spcAft>
                <a:spcPts val="0"/>
              </a:spcAft>
              <a:buNone/>
              <a:defRPr/>
            </a:pPr>
            <a:r>
              <a:rPr lang="en-ZW" sz="1600" b="1" dirty="0"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  <a:sym typeface="Wingdings 2"/>
              </a:rPr>
              <a:t></a:t>
            </a:r>
            <a:r>
              <a:rPr lang="en-US" sz="1600" b="1" dirty="0">
                <a:latin typeface="Garamond" pitchFamily="18" charset="0"/>
                <a:ea typeface="宋体" pitchFamily="2" charset="-122"/>
                <a:cs typeface="Times New Roman" pitchFamily="18" charset="0"/>
                <a:sym typeface="Wingdings 2"/>
              </a:rPr>
              <a:t>  </a:t>
            </a:r>
            <a:r>
              <a:rPr lang="pt-PT" altLang="en-US" sz="1600" b="1" dirty="0">
                <a:latin typeface="Gill Sans MT" pitchFamily="34" charset="0"/>
                <a:ea typeface="宋体" pitchFamily="2" charset="-122"/>
              </a:rPr>
              <a:t>Member States (17): </a:t>
            </a:r>
            <a:r>
              <a:rPr lang="en-US" sz="1600" b="1" dirty="0">
                <a:latin typeface="Gill Sans MT" pitchFamily="34" charset="0"/>
                <a:ea typeface="宋体" pitchFamily="2" charset="-122"/>
              </a:rPr>
              <a:t>Benin, Burkina Faso, Cameroon, The Central African Republic, Chad, Comoro Islands, Congo, Equatorial Guinea, Gabon, Guinea, Guinea-Bissau, Ivory Coast, Mali, Mauritania, Niger, Senegal and Togo</a:t>
            </a:r>
            <a:endParaRPr lang="pt-PT" altLang="en-US" sz="1600" b="1" dirty="0">
              <a:latin typeface="Gill Sans MT" pitchFamily="34" charset="0"/>
              <a:ea typeface="宋体" pitchFamily="2" charset="-122"/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60814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title"/>
          </p:nvPr>
        </p:nvSpPr>
        <p:spPr>
          <a:xfrm>
            <a:off x="457200" y="25400"/>
            <a:ext cx="8229600" cy="866775"/>
          </a:xfrm>
        </p:spPr>
        <p:txBody>
          <a:bodyPr/>
          <a:lstStyle/>
          <a:p>
            <a:pPr algn="ctr"/>
            <a:r>
              <a:rPr lang="en-US" altLang="en-US" sz="3600" b="1" smtClean="0">
                <a:latin typeface="Gill Sans MT" pitchFamily="34" charset="0"/>
              </a:rPr>
              <a:t>MEMBERSHIP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34322" y="80645"/>
            <a:ext cx="2514600" cy="5940088"/>
          </a:xfrm>
          <a:prstGeom prst="rect">
            <a:avLst/>
          </a:prstGeom>
          <a:noFill/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txBody>
          <a:bodyPr>
            <a:spAutoFit/>
          </a:bodyPr>
          <a:lstStyle/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Botswan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Gamb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Ghan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Keny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Liber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Lesotho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Malawi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Mozambique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Namib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Rwand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Sao Tome &amp; Principe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Sierra Leone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Somal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Sudan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Swaziland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Tanzan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Ugand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Zambia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Zimbabwe</a:t>
            </a:r>
          </a:p>
          <a:p>
            <a:pPr>
              <a:defRPr/>
            </a:pPr>
            <a:r>
              <a:rPr lang="en-US" b="1" dirty="0">
                <a:solidFill>
                  <a:schemeClr val="accent1"/>
                </a:solidFill>
                <a:ea typeface="宋体" pitchFamily="2" charset="-122"/>
              </a:rPr>
              <a:t>	</a:t>
            </a:r>
            <a:r>
              <a:rPr lang="en-US" sz="2000" b="1" dirty="0">
                <a:solidFill>
                  <a:srgbClr val="FF0000"/>
                </a:solidFill>
                <a:ea typeface="宋体" pitchFamily="2" charset="-122"/>
              </a:rPr>
              <a:t>= 19</a:t>
            </a:r>
          </a:p>
        </p:txBody>
      </p:sp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2397125" y="676275"/>
            <a:ext cx="4630738" cy="5270500"/>
            <a:chOff x="2411760" y="492986"/>
            <a:chExt cx="4752528" cy="5528302"/>
          </a:xfrm>
        </p:grpSpPr>
        <p:grpSp>
          <p:nvGrpSpPr>
            <p:cNvPr id="3" name="Group 25"/>
            <p:cNvGrpSpPr>
              <a:grpSpLocks/>
            </p:cNvGrpSpPr>
            <p:nvPr/>
          </p:nvGrpSpPr>
          <p:grpSpPr bwMode="auto">
            <a:xfrm>
              <a:off x="2411760" y="492986"/>
              <a:ext cx="4752528" cy="5528302"/>
              <a:chOff x="2411760" y="492986"/>
              <a:chExt cx="4752528" cy="5528302"/>
            </a:xfrm>
          </p:grpSpPr>
          <p:grpSp>
            <p:nvGrpSpPr>
              <p:cNvPr id="4" name="Group 114"/>
              <p:cNvGrpSpPr>
                <a:grpSpLocks/>
              </p:cNvGrpSpPr>
              <p:nvPr/>
            </p:nvGrpSpPr>
            <p:grpSpPr bwMode="auto">
              <a:xfrm>
                <a:off x="2411760" y="492986"/>
                <a:ext cx="4752528" cy="5528302"/>
                <a:chOff x="4355976" y="785794"/>
                <a:chExt cx="3240360" cy="4011358"/>
              </a:xfrm>
            </p:grpSpPr>
            <p:grpSp>
              <p:nvGrpSpPr>
                <p:cNvPr id="5" name="Group 58"/>
                <p:cNvGrpSpPr>
                  <a:grpSpLocks/>
                </p:cNvGrpSpPr>
                <p:nvPr/>
              </p:nvGrpSpPr>
              <p:grpSpPr bwMode="auto">
                <a:xfrm>
                  <a:off x="4355976" y="785794"/>
                  <a:ext cx="3240360" cy="4011358"/>
                  <a:chOff x="2123728" y="764704"/>
                  <a:chExt cx="5472608" cy="5400600"/>
                </a:xfrm>
              </p:grpSpPr>
              <p:sp>
                <p:nvSpPr>
                  <p:cNvPr id="49" name="Freeform 32"/>
                  <p:cNvSpPr>
                    <a:spLocks/>
                  </p:cNvSpPr>
                  <p:nvPr>
                    <p:custDataLst>
                      <p:tags r:id="rId2"/>
                    </p:custDataLst>
                  </p:nvPr>
                </p:nvSpPr>
                <p:spPr bwMode="auto">
                  <a:xfrm>
                    <a:off x="3765323" y="2542673"/>
                    <a:ext cx="941806" cy="681581"/>
                  </a:xfrm>
                  <a:custGeom>
                    <a:avLst/>
                    <a:gdLst>
                      <a:gd name="T0" fmla="*/ 8431 w 671"/>
                      <a:gd name="T1" fmla="*/ 476187 h 549"/>
                      <a:gd name="T2" fmla="*/ 11241 w 671"/>
                      <a:gd name="T3" fmla="*/ 392885 h 549"/>
                      <a:gd name="T4" fmla="*/ 23887 w 671"/>
                      <a:gd name="T5" fmla="*/ 356829 h 549"/>
                      <a:gd name="T6" fmla="*/ 73065 w 671"/>
                      <a:gd name="T7" fmla="*/ 295907 h 549"/>
                      <a:gd name="T8" fmla="*/ 99761 w 671"/>
                      <a:gd name="T9" fmla="*/ 254878 h 549"/>
                      <a:gd name="T10" fmla="*/ 102572 w 671"/>
                      <a:gd name="T11" fmla="*/ 207632 h 549"/>
                      <a:gd name="T12" fmla="*/ 102572 w 671"/>
                      <a:gd name="T13" fmla="*/ 170333 h 549"/>
                      <a:gd name="T14" fmla="*/ 75875 w 671"/>
                      <a:gd name="T15" fmla="*/ 134277 h 549"/>
                      <a:gd name="T16" fmla="*/ 85711 w 671"/>
                      <a:gd name="T17" fmla="*/ 98221 h 549"/>
                      <a:gd name="T18" fmla="*/ 106787 w 671"/>
                      <a:gd name="T19" fmla="*/ 62165 h 549"/>
                      <a:gd name="T20" fmla="*/ 134889 w 671"/>
                      <a:gd name="T21" fmla="*/ 31083 h 549"/>
                      <a:gd name="T22" fmla="*/ 168611 w 671"/>
                      <a:gd name="T23" fmla="*/ 8703 h 549"/>
                      <a:gd name="T24" fmla="*/ 205143 w 671"/>
                      <a:gd name="T25" fmla="*/ 0 h 549"/>
                      <a:gd name="T26" fmla="*/ 243081 w 671"/>
                      <a:gd name="T27" fmla="*/ 6217 h 549"/>
                      <a:gd name="T28" fmla="*/ 289449 w 671"/>
                      <a:gd name="T29" fmla="*/ 32326 h 549"/>
                      <a:gd name="T30" fmla="*/ 331601 w 671"/>
                      <a:gd name="T31" fmla="*/ 55949 h 549"/>
                      <a:gd name="T32" fmla="*/ 363919 w 671"/>
                      <a:gd name="T33" fmla="*/ 62165 h 549"/>
                      <a:gd name="T34" fmla="*/ 382185 w 671"/>
                      <a:gd name="T35" fmla="*/ 54706 h 549"/>
                      <a:gd name="T36" fmla="*/ 399046 w 671"/>
                      <a:gd name="T37" fmla="*/ 43516 h 549"/>
                      <a:gd name="T38" fmla="*/ 421527 w 671"/>
                      <a:gd name="T39" fmla="*/ 39786 h 549"/>
                      <a:gd name="T40" fmla="*/ 446819 w 671"/>
                      <a:gd name="T41" fmla="*/ 48489 h 549"/>
                      <a:gd name="T42" fmla="*/ 473516 w 671"/>
                      <a:gd name="T43" fmla="*/ 80815 h 549"/>
                      <a:gd name="T44" fmla="*/ 495997 w 671"/>
                      <a:gd name="T45" fmla="*/ 98221 h 549"/>
                      <a:gd name="T46" fmla="*/ 519884 w 671"/>
                      <a:gd name="T47" fmla="*/ 100708 h 549"/>
                      <a:gd name="T48" fmla="*/ 535340 w 671"/>
                      <a:gd name="T49" fmla="*/ 93248 h 549"/>
                      <a:gd name="T50" fmla="*/ 557821 w 671"/>
                      <a:gd name="T51" fmla="*/ 69625 h 549"/>
                      <a:gd name="T52" fmla="*/ 588733 w 671"/>
                      <a:gd name="T53" fmla="*/ 47246 h 549"/>
                      <a:gd name="T54" fmla="*/ 643532 w 671"/>
                      <a:gd name="T55" fmla="*/ 27353 h 549"/>
                      <a:gd name="T56" fmla="*/ 684279 w 671"/>
                      <a:gd name="T57" fmla="*/ 31083 h 549"/>
                      <a:gd name="T58" fmla="*/ 718001 w 671"/>
                      <a:gd name="T59" fmla="*/ 43516 h 549"/>
                      <a:gd name="T60" fmla="*/ 754534 w 671"/>
                      <a:gd name="T61" fmla="*/ 53462 h 549"/>
                      <a:gd name="T62" fmla="*/ 802307 w 671"/>
                      <a:gd name="T63" fmla="*/ 48489 h 549"/>
                      <a:gd name="T64" fmla="*/ 907689 w 671"/>
                      <a:gd name="T65" fmla="*/ 83302 h 549"/>
                      <a:gd name="T66" fmla="*/ 934385 w 671"/>
                      <a:gd name="T67" fmla="*/ 130547 h 549"/>
                      <a:gd name="T68" fmla="*/ 875372 w 671"/>
                      <a:gd name="T69" fmla="*/ 227525 h 549"/>
                      <a:gd name="T70" fmla="*/ 833219 w 671"/>
                      <a:gd name="T71" fmla="*/ 289691 h 549"/>
                      <a:gd name="T72" fmla="*/ 800902 w 671"/>
                      <a:gd name="T73" fmla="*/ 361803 h 549"/>
                      <a:gd name="T74" fmla="*/ 772800 w 671"/>
                      <a:gd name="T75" fmla="*/ 426455 h 549"/>
                      <a:gd name="T76" fmla="*/ 737673 w 671"/>
                      <a:gd name="T77" fmla="*/ 506026 h 549"/>
                      <a:gd name="T78" fmla="*/ 725027 w 671"/>
                      <a:gd name="T79" fmla="*/ 524676 h 549"/>
                      <a:gd name="T80" fmla="*/ 702545 w 671"/>
                      <a:gd name="T81" fmla="*/ 545812 h 549"/>
                      <a:gd name="T82" fmla="*/ 677254 w 671"/>
                      <a:gd name="T83" fmla="*/ 550785 h 549"/>
                      <a:gd name="T84" fmla="*/ 644937 w 671"/>
                      <a:gd name="T85" fmla="*/ 537109 h 549"/>
                      <a:gd name="T86" fmla="*/ 618240 w 671"/>
                      <a:gd name="T87" fmla="*/ 523433 h 549"/>
                      <a:gd name="T88" fmla="*/ 573277 w 671"/>
                      <a:gd name="T89" fmla="*/ 527162 h 549"/>
                      <a:gd name="T90" fmla="*/ 535340 w 671"/>
                      <a:gd name="T91" fmla="*/ 548299 h 549"/>
                      <a:gd name="T92" fmla="*/ 511453 w 671"/>
                      <a:gd name="T93" fmla="*/ 583111 h 549"/>
                      <a:gd name="T94" fmla="*/ 480541 w 671"/>
                      <a:gd name="T95" fmla="*/ 647763 h 549"/>
                      <a:gd name="T96" fmla="*/ 456655 w 671"/>
                      <a:gd name="T97" fmla="*/ 682576 h 549"/>
                      <a:gd name="T98" fmla="*/ 321766 w 671"/>
                      <a:gd name="T99" fmla="*/ 678846 h 549"/>
                      <a:gd name="T100" fmla="*/ 304905 w 671"/>
                      <a:gd name="T101" fmla="*/ 681333 h 549"/>
                      <a:gd name="T102" fmla="*/ 251511 w 671"/>
                      <a:gd name="T103" fmla="*/ 675116 h 549"/>
                      <a:gd name="T104" fmla="*/ 226220 w 671"/>
                      <a:gd name="T105" fmla="*/ 671386 h 549"/>
                      <a:gd name="T106" fmla="*/ 202333 w 671"/>
                      <a:gd name="T107" fmla="*/ 660196 h 549"/>
                      <a:gd name="T108" fmla="*/ 181257 w 671"/>
                      <a:gd name="T109" fmla="*/ 640304 h 549"/>
                      <a:gd name="T110" fmla="*/ 167206 w 671"/>
                      <a:gd name="T111" fmla="*/ 616681 h 549"/>
                      <a:gd name="T112" fmla="*/ 158775 w 671"/>
                      <a:gd name="T113" fmla="*/ 586841 h 549"/>
                      <a:gd name="T114" fmla="*/ 140509 w 671"/>
                      <a:gd name="T115" fmla="*/ 571922 h 549"/>
                      <a:gd name="T116" fmla="*/ 116623 w 671"/>
                      <a:gd name="T117" fmla="*/ 555759 h 549"/>
                      <a:gd name="T118" fmla="*/ 88521 w 671"/>
                      <a:gd name="T119" fmla="*/ 537109 h 549"/>
                      <a:gd name="T120" fmla="*/ 54799 w 671"/>
                      <a:gd name="T121" fmla="*/ 533379 h 549"/>
                      <a:gd name="T122" fmla="*/ 0 w 671"/>
                      <a:gd name="T123" fmla="*/ 544569 h 549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671"/>
                      <a:gd name="T187" fmla="*/ 0 h 549"/>
                      <a:gd name="T188" fmla="*/ 671 w 671"/>
                      <a:gd name="T189" fmla="*/ 549 h 549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671" h="549">
                        <a:moveTo>
                          <a:pt x="0" y="438"/>
                        </a:moveTo>
                        <a:lnTo>
                          <a:pt x="4" y="405"/>
                        </a:lnTo>
                        <a:lnTo>
                          <a:pt x="6" y="383"/>
                        </a:lnTo>
                        <a:lnTo>
                          <a:pt x="7" y="360"/>
                        </a:lnTo>
                        <a:lnTo>
                          <a:pt x="7" y="327"/>
                        </a:lnTo>
                        <a:lnTo>
                          <a:pt x="8" y="316"/>
                        </a:lnTo>
                        <a:lnTo>
                          <a:pt x="9" y="306"/>
                        </a:lnTo>
                        <a:lnTo>
                          <a:pt x="12" y="296"/>
                        </a:lnTo>
                        <a:lnTo>
                          <a:pt x="17" y="287"/>
                        </a:lnTo>
                        <a:lnTo>
                          <a:pt x="28" y="270"/>
                        </a:lnTo>
                        <a:lnTo>
                          <a:pt x="40" y="254"/>
                        </a:lnTo>
                        <a:lnTo>
                          <a:pt x="52" y="238"/>
                        </a:lnTo>
                        <a:lnTo>
                          <a:pt x="63" y="222"/>
                        </a:lnTo>
                        <a:lnTo>
                          <a:pt x="67" y="214"/>
                        </a:lnTo>
                        <a:lnTo>
                          <a:pt x="71" y="205"/>
                        </a:lnTo>
                        <a:lnTo>
                          <a:pt x="73" y="196"/>
                        </a:lnTo>
                        <a:lnTo>
                          <a:pt x="73" y="185"/>
                        </a:lnTo>
                        <a:lnTo>
                          <a:pt x="73" y="167"/>
                        </a:lnTo>
                        <a:lnTo>
                          <a:pt x="73" y="156"/>
                        </a:lnTo>
                        <a:lnTo>
                          <a:pt x="73" y="148"/>
                        </a:lnTo>
                        <a:lnTo>
                          <a:pt x="73" y="137"/>
                        </a:lnTo>
                        <a:lnTo>
                          <a:pt x="63" y="126"/>
                        </a:lnTo>
                        <a:lnTo>
                          <a:pt x="53" y="117"/>
                        </a:lnTo>
                        <a:lnTo>
                          <a:pt x="54" y="108"/>
                        </a:lnTo>
                        <a:lnTo>
                          <a:pt x="55" y="99"/>
                        </a:lnTo>
                        <a:lnTo>
                          <a:pt x="57" y="89"/>
                        </a:lnTo>
                        <a:lnTo>
                          <a:pt x="61" y="79"/>
                        </a:lnTo>
                        <a:lnTo>
                          <a:pt x="65" y="68"/>
                        </a:lnTo>
                        <a:lnTo>
                          <a:pt x="71" y="59"/>
                        </a:lnTo>
                        <a:lnTo>
                          <a:pt x="76" y="50"/>
                        </a:lnTo>
                        <a:lnTo>
                          <a:pt x="83" y="41"/>
                        </a:lnTo>
                        <a:lnTo>
                          <a:pt x="89" y="33"/>
                        </a:lnTo>
                        <a:lnTo>
                          <a:pt x="96" y="25"/>
                        </a:lnTo>
                        <a:lnTo>
                          <a:pt x="104" y="17"/>
                        </a:lnTo>
                        <a:lnTo>
                          <a:pt x="112" y="12"/>
                        </a:lnTo>
                        <a:lnTo>
                          <a:pt x="120" y="7"/>
                        </a:lnTo>
                        <a:lnTo>
                          <a:pt x="129" y="3"/>
                        </a:lnTo>
                        <a:lnTo>
                          <a:pt x="138" y="1"/>
                        </a:lnTo>
                        <a:lnTo>
                          <a:pt x="146" y="0"/>
                        </a:lnTo>
                        <a:lnTo>
                          <a:pt x="156" y="1"/>
                        </a:lnTo>
                        <a:lnTo>
                          <a:pt x="164" y="3"/>
                        </a:lnTo>
                        <a:lnTo>
                          <a:pt x="173" y="5"/>
                        </a:lnTo>
                        <a:lnTo>
                          <a:pt x="179" y="8"/>
                        </a:lnTo>
                        <a:lnTo>
                          <a:pt x="194" y="16"/>
                        </a:lnTo>
                        <a:lnTo>
                          <a:pt x="206" y="26"/>
                        </a:lnTo>
                        <a:lnTo>
                          <a:pt x="217" y="35"/>
                        </a:lnTo>
                        <a:lnTo>
                          <a:pt x="230" y="42"/>
                        </a:lnTo>
                        <a:lnTo>
                          <a:pt x="236" y="45"/>
                        </a:lnTo>
                        <a:lnTo>
                          <a:pt x="243" y="48"/>
                        </a:lnTo>
                        <a:lnTo>
                          <a:pt x="251" y="49"/>
                        </a:lnTo>
                        <a:lnTo>
                          <a:pt x="259" y="50"/>
                        </a:lnTo>
                        <a:lnTo>
                          <a:pt x="264" y="49"/>
                        </a:lnTo>
                        <a:lnTo>
                          <a:pt x="268" y="47"/>
                        </a:lnTo>
                        <a:lnTo>
                          <a:pt x="272" y="44"/>
                        </a:lnTo>
                        <a:lnTo>
                          <a:pt x="276" y="41"/>
                        </a:lnTo>
                        <a:lnTo>
                          <a:pt x="279" y="37"/>
                        </a:lnTo>
                        <a:lnTo>
                          <a:pt x="284" y="35"/>
                        </a:lnTo>
                        <a:lnTo>
                          <a:pt x="288" y="32"/>
                        </a:lnTo>
                        <a:lnTo>
                          <a:pt x="292" y="32"/>
                        </a:lnTo>
                        <a:lnTo>
                          <a:pt x="300" y="32"/>
                        </a:lnTo>
                        <a:lnTo>
                          <a:pt x="308" y="34"/>
                        </a:lnTo>
                        <a:lnTo>
                          <a:pt x="313" y="36"/>
                        </a:lnTo>
                        <a:lnTo>
                          <a:pt x="318" y="39"/>
                        </a:lnTo>
                        <a:lnTo>
                          <a:pt x="325" y="47"/>
                        </a:lnTo>
                        <a:lnTo>
                          <a:pt x="332" y="56"/>
                        </a:lnTo>
                        <a:lnTo>
                          <a:pt x="337" y="65"/>
                        </a:lnTo>
                        <a:lnTo>
                          <a:pt x="344" y="73"/>
                        </a:lnTo>
                        <a:lnTo>
                          <a:pt x="348" y="76"/>
                        </a:lnTo>
                        <a:lnTo>
                          <a:pt x="353" y="79"/>
                        </a:lnTo>
                        <a:lnTo>
                          <a:pt x="358" y="81"/>
                        </a:lnTo>
                        <a:lnTo>
                          <a:pt x="366" y="81"/>
                        </a:lnTo>
                        <a:lnTo>
                          <a:pt x="370" y="81"/>
                        </a:lnTo>
                        <a:lnTo>
                          <a:pt x="375" y="80"/>
                        </a:lnTo>
                        <a:lnTo>
                          <a:pt x="378" y="77"/>
                        </a:lnTo>
                        <a:lnTo>
                          <a:pt x="381" y="75"/>
                        </a:lnTo>
                        <a:lnTo>
                          <a:pt x="387" y="70"/>
                        </a:lnTo>
                        <a:lnTo>
                          <a:pt x="392" y="63"/>
                        </a:lnTo>
                        <a:lnTo>
                          <a:pt x="397" y="56"/>
                        </a:lnTo>
                        <a:lnTo>
                          <a:pt x="403" y="49"/>
                        </a:lnTo>
                        <a:lnTo>
                          <a:pt x="410" y="43"/>
                        </a:lnTo>
                        <a:lnTo>
                          <a:pt x="419" y="38"/>
                        </a:lnTo>
                        <a:lnTo>
                          <a:pt x="433" y="30"/>
                        </a:lnTo>
                        <a:lnTo>
                          <a:pt x="446" y="25"/>
                        </a:lnTo>
                        <a:lnTo>
                          <a:pt x="458" y="22"/>
                        </a:lnTo>
                        <a:lnTo>
                          <a:pt x="468" y="21"/>
                        </a:lnTo>
                        <a:lnTo>
                          <a:pt x="478" y="22"/>
                        </a:lnTo>
                        <a:lnTo>
                          <a:pt x="487" y="25"/>
                        </a:lnTo>
                        <a:lnTo>
                          <a:pt x="496" y="28"/>
                        </a:lnTo>
                        <a:lnTo>
                          <a:pt x="503" y="31"/>
                        </a:lnTo>
                        <a:lnTo>
                          <a:pt x="511" y="35"/>
                        </a:lnTo>
                        <a:lnTo>
                          <a:pt x="520" y="38"/>
                        </a:lnTo>
                        <a:lnTo>
                          <a:pt x="528" y="41"/>
                        </a:lnTo>
                        <a:lnTo>
                          <a:pt x="537" y="43"/>
                        </a:lnTo>
                        <a:lnTo>
                          <a:pt x="547" y="43"/>
                        </a:lnTo>
                        <a:lnTo>
                          <a:pt x="559" y="42"/>
                        </a:lnTo>
                        <a:lnTo>
                          <a:pt x="571" y="39"/>
                        </a:lnTo>
                        <a:lnTo>
                          <a:pt x="586" y="33"/>
                        </a:lnTo>
                        <a:lnTo>
                          <a:pt x="632" y="74"/>
                        </a:lnTo>
                        <a:lnTo>
                          <a:pt x="646" y="67"/>
                        </a:lnTo>
                        <a:lnTo>
                          <a:pt x="651" y="81"/>
                        </a:lnTo>
                        <a:lnTo>
                          <a:pt x="658" y="93"/>
                        </a:lnTo>
                        <a:lnTo>
                          <a:pt x="665" y="105"/>
                        </a:lnTo>
                        <a:lnTo>
                          <a:pt x="671" y="117"/>
                        </a:lnTo>
                        <a:lnTo>
                          <a:pt x="646" y="152"/>
                        </a:lnTo>
                        <a:lnTo>
                          <a:pt x="623" y="183"/>
                        </a:lnTo>
                        <a:lnTo>
                          <a:pt x="612" y="199"/>
                        </a:lnTo>
                        <a:lnTo>
                          <a:pt x="602" y="216"/>
                        </a:lnTo>
                        <a:lnTo>
                          <a:pt x="593" y="233"/>
                        </a:lnTo>
                        <a:lnTo>
                          <a:pt x="584" y="254"/>
                        </a:lnTo>
                        <a:lnTo>
                          <a:pt x="578" y="273"/>
                        </a:lnTo>
                        <a:lnTo>
                          <a:pt x="570" y="291"/>
                        </a:lnTo>
                        <a:lnTo>
                          <a:pt x="564" y="309"/>
                        </a:lnTo>
                        <a:lnTo>
                          <a:pt x="557" y="326"/>
                        </a:lnTo>
                        <a:lnTo>
                          <a:pt x="550" y="343"/>
                        </a:lnTo>
                        <a:lnTo>
                          <a:pt x="543" y="363"/>
                        </a:lnTo>
                        <a:lnTo>
                          <a:pt x="534" y="383"/>
                        </a:lnTo>
                        <a:lnTo>
                          <a:pt x="525" y="407"/>
                        </a:lnTo>
                        <a:lnTo>
                          <a:pt x="524" y="410"/>
                        </a:lnTo>
                        <a:lnTo>
                          <a:pt x="521" y="416"/>
                        </a:lnTo>
                        <a:lnTo>
                          <a:pt x="516" y="422"/>
                        </a:lnTo>
                        <a:lnTo>
                          <a:pt x="511" y="428"/>
                        </a:lnTo>
                        <a:lnTo>
                          <a:pt x="505" y="434"/>
                        </a:lnTo>
                        <a:lnTo>
                          <a:pt x="500" y="439"/>
                        </a:lnTo>
                        <a:lnTo>
                          <a:pt x="496" y="443"/>
                        </a:lnTo>
                        <a:lnTo>
                          <a:pt x="492" y="444"/>
                        </a:lnTo>
                        <a:lnTo>
                          <a:pt x="482" y="443"/>
                        </a:lnTo>
                        <a:lnTo>
                          <a:pt x="474" y="440"/>
                        </a:lnTo>
                        <a:lnTo>
                          <a:pt x="466" y="436"/>
                        </a:lnTo>
                        <a:lnTo>
                          <a:pt x="459" y="432"/>
                        </a:lnTo>
                        <a:lnTo>
                          <a:pt x="453" y="428"/>
                        </a:lnTo>
                        <a:lnTo>
                          <a:pt x="446" y="424"/>
                        </a:lnTo>
                        <a:lnTo>
                          <a:pt x="440" y="421"/>
                        </a:lnTo>
                        <a:lnTo>
                          <a:pt x="432" y="420"/>
                        </a:lnTo>
                        <a:lnTo>
                          <a:pt x="419" y="421"/>
                        </a:lnTo>
                        <a:lnTo>
                          <a:pt x="408" y="424"/>
                        </a:lnTo>
                        <a:lnTo>
                          <a:pt x="398" y="428"/>
                        </a:lnTo>
                        <a:lnTo>
                          <a:pt x="389" y="434"/>
                        </a:lnTo>
                        <a:lnTo>
                          <a:pt x="381" y="441"/>
                        </a:lnTo>
                        <a:lnTo>
                          <a:pt x="375" y="449"/>
                        </a:lnTo>
                        <a:lnTo>
                          <a:pt x="369" y="458"/>
                        </a:lnTo>
                        <a:lnTo>
                          <a:pt x="364" y="469"/>
                        </a:lnTo>
                        <a:lnTo>
                          <a:pt x="355" y="489"/>
                        </a:lnTo>
                        <a:lnTo>
                          <a:pt x="346" y="510"/>
                        </a:lnTo>
                        <a:lnTo>
                          <a:pt x="342" y="521"/>
                        </a:lnTo>
                        <a:lnTo>
                          <a:pt x="336" y="531"/>
                        </a:lnTo>
                        <a:lnTo>
                          <a:pt x="332" y="541"/>
                        </a:lnTo>
                        <a:lnTo>
                          <a:pt x="325" y="549"/>
                        </a:lnTo>
                        <a:lnTo>
                          <a:pt x="233" y="543"/>
                        </a:lnTo>
                        <a:lnTo>
                          <a:pt x="231" y="545"/>
                        </a:lnTo>
                        <a:lnTo>
                          <a:pt x="229" y="546"/>
                        </a:lnTo>
                        <a:lnTo>
                          <a:pt x="227" y="547"/>
                        </a:lnTo>
                        <a:lnTo>
                          <a:pt x="223" y="548"/>
                        </a:lnTo>
                        <a:lnTo>
                          <a:pt x="217" y="548"/>
                        </a:lnTo>
                        <a:lnTo>
                          <a:pt x="209" y="547"/>
                        </a:lnTo>
                        <a:lnTo>
                          <a:pt x="193" y="545"/>
                        </a:lnTo>
                        <a:lnTo>
                          <a:pt x="179" y="543"/>
                        </a:lnTo>
                        <a:lnTo>
                          <a:pt x="173" y="543"/>
                        </a:lnTo>
                        <a:lnTo>
                          <a:pt x="167" y="542"/>
                        </a:lnTo>
                        <a:lnTo>
                          <a:pt x="161" y="540"/>
                        </a:lnTo>
                        <a:lnTo>
                          <a:pt x="155" y="537"/>
                        </a:lnTo>
                        <a:lnTo>
                          <a:pt x="150" y="534"/>
                        </a:lnTo>
                        <a:lnTo>
                          <a:pt x="144" y="531"/>
                        </a:lnTo>
                        <a:lnTo>
                          <a:pt x="139" y="527"/>
                        </a:lnTo>
                        <a:lnTo>
                          <a:pt x="134" y="521"/>
                        </a:lnTo>
                        <a:lnTo>
                          <a:pt x="129" y="515"/>
                        </a:lnTo>
                        <a:lnTo>
                          <a:pt x="126" y="509"/>
                        </a:lnTo>
                        <a:lnTo>
                          <a:pt x="122" y="503"/>
                        </a:lnTo>
                        <a:lnTo>
                          <a:pt x="119" y="496"/>
                        </a:lnTo>
                        <a:lnTo>
                          <a:pt x="117" y="489"/>
                        </a:lnTo>
                        <a:lnTo>
                          <a:pt x="115" y="481"/>
                        </a:lnTo>
                        <a:lnTo>
                          <a:pt x="113" y="472"/>
                        </a:lnTo>
                        <a:lnTo>
                          <a:pt x="113" y="462"/>
                        </a:lnTo>
                        <a:lnTo>
                          <a:pt x="106" y="462"/>
                        </a:lnTo>
                        <a:lnTo>
                          <a:pt x="100" y="460"/>
                        </a:lnTo>
                        <a:lnTo>
                          <a:pt x="95" y="457"/>
                        </a:lnTo>
                        <a:lnTo>
                          <a:pt x="90" y="454"/>
                        </a:lnTo>
                        <a:lnTo>
                          <a:pt x="83" y="447"/>
                        </a:lnTo>
                        <a:lnTo>
                          <a:pt x="74" y="439"/>
                        </a:lnTo>
                        <a:lnTo>
                          <a:pt x="70" y="435"/>
                        </a:lnTo>
                        <a:lnTo>
                          <a:pt x="63" y="432"/>
                        </a:lnTo>
                        <a:lnTo>
                          <a:pt x="56" y="430"/>
                        </a:lnTo>
                        <a:lnTo>
                          <a:pt x="49" y="429"/>
                        </a:lnTo>
                        <a:lnTo>
                          <a:pt x="39" y="429"/>
                        </a:lnTo>
                        <a:lnTo>
                          <a:pt x="28" y="430"/>
                        </a:lnTo>
                        <a:lnTo>
                          <a:pt x="15" y="433"/>
                        </a:lnTo>
                        <a:lnTo>
                          <a:pt x="0" y="438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0" name="Freeform 33"/>
                  <p:cNvSpPr>
                    <a:spLocks/>
                  </p:cNvSpPr>
                  <p:nvPr>
                    <p:custDataLst>
                      <p:tags r:id="rId3"/>
                    </p:custDataLst>
                  </p:nvPr>
                </p:nvSpPr>
                <p:spPr bwMode="auto">
                  <a:xfrm>
                    <a:off x="6440653" y="2223843"/>
                    <a:ext cx="484036" cy="400165"/>
                  </a:xfrm>
                  <a:custGeom>
                    <a:avLst/>
                    <a:gdLst>
                      <a:gd name="T0" fmla="*/ 440748 w 358"/>
                      <a:gd name="T1" fmla="*/ 397612 h 327"/>
                      <a:gd name="T2" fmla="*/ 447508 w 358"/>
                      <a:gd name="T3" fmla="*/ 393931 h 327"/>
                      <a:gd name="T4" fmla="*/ 455620 w 358"/>
                      <a:gd name="T5" fmla="*/ 390249 h 327"/>
                      <a:gd name="T6" fmla="*/ 467788 w 358"/>
                      <a:gd name="T7" fmla="*/ 390249 h 327"/>
                      <a:gd name="T8" fmla="*/ 481308 w 358"/>
                      <a:gd name="T9" fmla="*/ 397612 h 327"/>
                      <a:gd name="T10" fmla="*/ 431284 w 358"/>
                      <a:gd name="T11" fmla="*/ 349752 h 327"/>
                      <a:gd name="T12" fmla="*/ 375853 w 358"/>
                      <a:gd name="T13" fmla="*/ 288392 h 327"/>
                      <a:gd name="T14" fmla="*/ 342053 w 358"/>
                      <a:gd name="T15" fmla="*/ 250349 h 327"/>
                      <a:gd name="T16" fmla="*/ 313661 w 358"/>
                      <a:gd name="T17" fmla="*/ 228259 h 327"/>
                      <a:gd name="T18" fmla="*/ 296086 w 358"/>
                      <a:gd name="T19" fmla="*/ 222123 h 327"/>
                      <a:gd name="T20" fmla="*/ 281214 w 358"/>
                      <a:gd name="T21" fmla="*/ 220896 h 327"/>
                      <a:gd name="T22" fmla="*/ 271750 w 358"/>
                      <a:gd name="T23" fmla="*/ 219669 h 327"/>
                      <a:gd name="T24" fmla="*/ 269046 w 358"/>
                      <a:gd name="T25" fmla="*/ 213533 h 327"/>
                      <a:gd name="T26" fmla="*/ 267694 w 358"/>
                      <a:gd name="T27" fmla="*/ 208624 h 327"/>
                      <a:gd name="T28" fmla="*/ 263638 w 358"/>
                      <a:gd name="T29" fmla="*/ 207397 h 327"/>
                      <a:gd name="T30" fmla="*/ 248766 w 358"/>
                      <a:gd name="T31" fmla="*/ 211078 h 327"/>
                      <a:gd name="T32" fmla="*/ 231190 w 358"/>
                      <a:gd name="T33" fmla="*/ 211078 h 327"/>
                      <a:gd name="T34" fmla="*/ 223078 w 358"/>
                      <a:gd name="T35" fmla="*/ 206169 h 327"/>
                      <a:gd name="T36" fmla="*/ 216318 w 358"/>
                      <a:gd name="T37" fmla="*/ 197579 h 327"/>
                      <a:gd name="T38" fmla="*/ 205502 w 358"/>
                      <a:gd name="T39" fmla="*/ 176717 h 327"/>
                      <a:gd name="T40" fmla="*/ 193334 w 358"/>
                      <a:gd name="T41" fmla="*/ 160763 h 327"/>
                      <a:gd name="T42" fmla="*/ 179815 w 358"/>
                      <a:gd name="T43" fmla="*/ 146037 h 327"/>
                      <a:gd name="T44" fmla="*/ 171703 w 358"/>
                      <a:gd name="T45" fmla="*/ 128856 h 327"/>
                      <a:gd name="T46" fmla="*/ 164943 w 358"/>
                      <a:gd name="T47" fmla="*/ 103085 h 327"/>
                      <a:gd name="T48" fmla="*/ 160887 w 358"/>
                      <a:gd name="T49" fmla="*/ 65042 h 327"/>
                      <a:gd name="T50" fmla="*/ 158183 w 358"/>
                      <a:gd name="T51" fmla="*/ 28226 h 327"/>
                      <a:gd name="T52" fmla="*/ 151423 w 358"/>
                      <a:gd name="T53" fmla="*/ 0 h 327"/>
                      <a:gd name="T54" fmla="*/ 98695 w 358"/>
                      <a:gd name="T55" fmla="*/ 31907 h 327"/>
                      <a:gd name="T56" fmla="*/ 82471 w 358"/>
                      <a:gd name="T57" fmla="*/ 40498 h 327"/>
                      <a:gd name="T58" fmla="*/ 44616 w 358"/>
                      <a:gd name="T59" fmla="*/ 61360 h 327"/>
                      <a:gd name="T60" fmla="*/ 28392 w 358"/>
                      <a:gd name="T61" fmla="*/ 74859 h 327"/>
                      <a:gd name="T62" fmla="*/ 22984 w 358"/>
                      <a:gd name="T63" fmla="*/ 88358 h 327"/>
                      <a:gd name="T64" fmla="*/ 21632 w 358"/>
                      <a:gd name="T65" fmla="*/ 101857 h 327"/>
                      <a:gd name="T66" fmla="*/ 27040 w 358"/>
                      <a:gd name="T67" fmla="*/ 114129 h 327"/>
                      <a:gd name="T68" fmla="*/ 29744 w 358"/>
                      <a:gd name="T69" fmla="*/ 122720 h 327"/>
                      <a:gd name="T70" fmla="*/ 27040 w 358"/>
                      <a:gd name="T71" fmla="*/ 134992 h 327"/>
                      <a:gd name="T72" fmla="*/ 20280 w 358"/>
                      <a:gd name="T73" fmla="*/ 150945 h 327"/>
                      <a:gd name="T74" fmla="*/ 9464 w 358"/>
                      <a:gd name="T75" fmla="*/ 166899 h 327"/>
                      <a:gd name="T76" fmla="*/ 0 w 358"/>
                      <a:gd name="T77" fmla="*/ 190216 h 327"/>
                      <a:gd name="T78" fmla="*/ 0 w 358"/>
                      <a:gd name="T79" fmla="*/ 213533 h 327"/>
                      <a:gd name="T80" fmla="*/ 6760 w 358"/>
                      <a:gd name="T81" fmla="*/ 223350 h 327"/>
                      <a:gd name="T82" fmla="*/ 14872 w 358"/>
                      <a:gd name="T83" fmla="*/ 229486 h 327"/>
                      <a:gd name="T84" fmla="*/ 27040 w 358"/>
                      <a:gd name="T85" fmla="*/ 228259 h 327"/>
                      <a:gd name="T86" fmla="*/ 59488 w 358"/>
                      <a:gd name="T87" fmla="*/ 206169 h 327"/>
                      <a:gd name="T88" fmla="*/ 81119 w 358"/>
                      <a:gd name="T89" fmla="*/ 197579 h 327"/>
                      <a:gd name="T90" fmla="*/ 102751 w 358"/>
                      <a:gd name="T91" fmla="*/ 184080 h 327"/>
                      <a:gd name="T92" fmla="*/ 125735 w 358"/>
                      <a:gd name="T93" fmla="*/ 195125 h 327"/>
                      <a:gd name="T94" fmla="*/ 148719 w 358"/>
                      <a:gd name="T95" fmla="*/ 201261 h 327"/>
                      <a:gd name="T96" fmla="*/ 191982 w 358"/>
                      <a:gd name="T97" fmla="*/ 220896 h 327"/>
                      <a:gd name="T98" fmla="*/ 220374 w 358"/>
                      <a:gd name="T99" fmla="*/ 233168 h 327"/>
                      <a:gd name="T100" fmla="*/ 264990 w 358"/>
                      <a:gd name="T101" fmla="*/ 256485 h 327"/>
                      <a:gd name="T102" fmla="*/ 296086 w 358"/>
                      <a:gd name="T103" fmla="*/ 276120 h 327"/>
                      <a:gd name="T104" fmla="*/ 331237 w 358"/>
                      <a:gd name="T105" fmla="*/ 299436 h 327"/>
                      <a:gd name="T106" fmla="*/ 346109 w 358"/>
                      <a:gd name="T107" fmla="*/ 311708 h 327"/>
                      <a:gd name="T108" fmla="*/ 360981 w 358"/>
                      <a:gd name="T109" fmla="*/ 331344 h 327"/>
                      <a:gd name="T110" fmla="*/ 363685 w 358"/>
                      <a:gd name="T111" fmla="*/ 342388 h 327"/>
                      <a:gd name="T112" fmla="*/ 363685 w 358"/>
                      <a:gd name="T113" fmla="*/ 350979 h 327"/>
                      <a:gd name="T114" fmla="*/ 365037 w 358"/>
                      <a:gd name="T115" fmla="*/ 355888 h 327"/>
                      <a:gd name="T116" fmla="*/ 373149 w 358"/>
                      <a:gd name="T117" fmla="*/ 358342 h 327"/>
                      <a:gd name="T118" fmla="*/ 394781 w 358"/>
                      <a:gd name="T119" fmla="*/ 370614 h 327"/>
                      <a:gd name="T120" fmla="*/ 429932 w 358"/>
                      <a:gd name="T121" fmla="*/ 393931 h 327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358"/>
                      <a:gd name="T184" fmla="*/ 0 h 327"/>
                      <a:gd name="T185" fmla="*/ 358 w 358"/>
                      <a:gd name="T186" fmla="*/ 327 h 327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358" h="327">
                        <a:moveTo>
                          <a:pt x="325" y="327"/>
                        </a:moveTo>
                        <a:lnTo>
                          <a:pt x="326" y="324"/>
                        </a:lnTo>
                        <a:lnTo>
                          <a:pt x="329" y="322"/>
                        </a:lnTo>
                        <a:lnTo>
                          <a:pt x="331" y="321"/>
                        </a:lnTo>
                        <a:lnTo>
                          <a:pt x="332" y="321"/>
                        </a:lnTo>
                        <a:lnTo>
                          <a:pt x="337" y="318"/>
                        </a:lnTo>
                        <a:lnTo>
                          <a:pt x="342" y="317"/>
                        </a:lnTo>
                        <a:lnTo>
                          <a:pt x="346" y="318"/>
                        </a:lnTo>
                        <a:lnTo>
                          <a:pt x="351" y="319"/>
                        </a:lnTo>
                        <a:lnTo>
                          <a:pt x="356" y="324"/>
                        </a:lnTo>
                        <a:lnTo>
                          <a:pt x="358" y="327"/>
                        </a:lnTo>
                        <a:lnTo>
                          <a:pt x="319" y="285"/>
                        </a:lnTo>
                        <a:lnTo>
                          <a:pt x="302" y="265"/>
                        </a:lnTo>
                        <a:lnTo>
                          <a:pt x="278" y="235"/>
                        </a:lnTo>
                        <a:lnTo>
                          <a:pt x="265" y="219"/>
                        </a:lnTo>
                        <a:lnTo>
                          <a:pt x="253" y="204"/>
                        </a:lnTo>
                        <a:lnTo>
                          <a:pt x="241" y="193"/>
                        </a:lnTo>
                        <a:lnTo>
                          <a:pt x="232" y="186"/>
                        </a:lnTo>
                        <a:lnTo>
                          <a:pt x="225" y="182"/>
                        </a:lnTo>
                        <a:lnTo>
                          <a:pt x="219" y="181"/>
                        </a:lnTo>
                        <a:lnTo>
                          <a:pt x="213" y="180"/>
                        </a:lnTo>
                        <a:lnTo>
                          <a:pt x="208" y="180"/>
                        </a:lnTo>
                        <a:lnTo>
                          <a:pt x="205" y="180"/>
                        </a:lnTo>
                        <a:lnTo>
                          <a:pt x="201" y="179"/>
                        </a:lnTo>
                        <a:lnTo>
                          <a:pt x="200" y="177"/>
                        </a:lnTo>
                        <a:lnTo>
                          <a:pt x="199" y="174"/>
                        </a:lnTo>
                        <a:lnTo>
                          <a:pt x="199" y="172"/>
                        </a:lnTo>
                        <a:lnTo>
                          <a:pt x="198" y="170"/>
                        </a:lnTo>
                        <a:lnTo>
                          <a:pt x="197" y="169"/>
                        </a:lnTo>
                        <a:lnTo>
                          <a:pt x="195" y="169"/>
                        </a:lnTo>
                        <a:lnTo>
                          <a:pt x="190" y="170"/>
                        </a:lnTo>
                        <a:lnTo>
                          <a:pt x="184" y="172"/>
                        </a:lnTo>
                        <a:lnTo>
                          <a:pt x="178" y="173"/>
                        </a:lnTo>
                        <a:lnTo>
                          <a:pt x="171" y="172"/>
                        </a:lnTo>
                        <a:lnTo>
                          <a:pt x="168" y="170"/>
                        </a:lnTo>
                        <a:lnTo>
                          <a:pt x="165" y="168"/>
                        </a:lnTo>
                        <a:lnTo>
                          <a:pt x="162" y="165"/>
                        </a:lnTo>
                        <a:lnTo>
                          <a:pt x="160" y="161"/>
                        </a:lnTo>
                        <a:lnTo>
                          <a:pt x="156" y="152"/>
                        </a:lnTo>
                        <a:lnTo>
                          <a:pt x="152" y="144"/>
                        </a:lnTo>
                        <a:lnTo>
                          <a:pt x="147" y="138"/>
                        </a:lnTo>
                        <a:lnTo>
                          <a:pt x="143" y="131"/>
                        </a:lnTo>
                        <a:lnTo>
                          <a:pt x="138" y="125"/>
                        </a:lnTo>
                        <a:lnTo>
                          <a:pt x="133" y="119"/>
                        </a:lnTo>
                        <a:lnTo>
                          <a:pt x="129" y="112"/>
                        </a:lnTo>
                        <a:lnTo>
                          <a:pt x="127" y="105"/>
                        </a:lnTo>
                        <a:lnTo>
                          <a:pt x="123" y="96"/>
                        </a:lnTo>
                        <a:lnTo>
                          <a:pt x="122" y="84"/>
                        </a:lnTo>
                        <a:lnTo>
                          <a:pt x="121" y="69"/>
                        </a:lnTo>
                        <a:lnTo>
                          <a:pt x="119" y="53"/>
                        </a:lnTo>
                        <a:lnTo>
                          <a:pt x="118" y="37"/>
                        </a:lnTo>
                        <a:lnTo>
                          <a:pt x="117" y="23"/>
                        </a:lnTo>
                        <a:lnTo>
                          <a:pt x="115" y="10"/>
                        </a:lnTo>
                        <a:lnTo>
                          <a:pt x="112" y="0"/>
                        </a:lnTo>
                        <a:lnTo>
                          <a:pt x="93" y="0"/>
                        </a:lnTo>
                        <a:lnTo>
                          <a:pt x="73" y="26"/>
                        </a:lnTo>
                        <a:lnTo>
                          <a:pt x="70" y="28"/>
                        </a:lnTo>
                        <a:lnTo>
                          <a:pt x="61" y="33"/>
                        </a:lnTo>
                        <a:lnTo>
                          <a:pt x="48" y="41"/>
                        </a:lnTo>
                        <a:lnTo>
                          <a:pt x="33" y="50"/>
                        </a:lnTo>
                        <a:lnTo>
                          <a:pt x="27" y="55"/>
                        </a:lnTo>
                        <a:lnTo>
                          <a:pt x="21" y="61"/>
                        </a:lnTo>
                        <a:lnTo>
                          <a:pt x="18" y="66"/>
                        </a:lnTo>
                        <a:lnTo>
                          <a:pt x="17" y="72"/>
                        </a:lnTo>
                        <a:lnTo>
                          <a:pt x="16" y="78"/>
                        </a:lnTo>
                        <a:lnTo>
                          <a:pt x="16" y="83"/>
                        </a:lnTo>
                        <a:lnTo>
                          <a:pt x="18" y="88"/>
                        </a:lnTo>
                        <a:lnTo>
                          <a:pt x="20" y="93"/>
                        </a:lnTo>
                        <a:lnTo>
                          <a:pt x="21" y="96"/>
                        </a:lnTo>
                        <a:lnTo>
                          <a:pt x="22" y="100"/>
                        </a:lnTo>
                        <a:lnTo>
                          <a:pt x="22" y="104"/>
                        </a:lnTo>
                        <a:lnTo>
                          <a:pt x="20" y="110"/>
                        </a:lnTo>
                        <a:lnTo>
                          <a:pt x="18" y="117"/>
                        </a:lnTo>
                        <a:lnTo>
                          <a:pt x="15" y="123"/>
                        </a:lnTo>
                        <a:lnTo>
                          <a:pt x="11" y="130"/>
                        </a:lnTo>
                        <a:lnTo>
                          <a:pt x="7" y="136"/>
                        </a:lnTo>
                        <a:lnTo>
                          <a:pt x="3" y="146"/>
                        </a:lnTo>
                        <a:lnTo>
                          <a:pt x="0" y="155"/>
                        </a:lnTo>
                        <a:lnTo>
                          <a:pt x="0" y="164"/>
                        </a:lnTo>
                        <a:lnTo>
                          <a:pt x="0" y="174"/>
                        </a:lnTo>
                        <a:lnTo>
                          <a:pt x="1" y="176"/>
                        </a:lnTo>
                        <a:lnTo>
                          <a:pt x="5" y="182"/>
                        </a:lnTo>
                        <a:lnTo>
                          <a:pt x="8" y="185"/>
                        </a:lnTo>
                        <a:lnTo>
                          <a:pt x="11" y="187"/>
                        </a:lnTo>
                        <a:lnTo>
                          <a:pt x="15" y="187"/>
                        </a:lnTo>
                        <a:lnTo>
                          <a:pt x="20" y="186"/>
                        </a:lnTo>
                        <a:lnTo>
                          <a:pt x="31" y="177"/>
                        </a:lnTo>
                        <a:lnTo>
                          <a:pt x="44" y="168"/>
                        </a:lnTo>
                        <a:lnTo>
                          <a:pt x="55" y="163"/>
                        </a:lnTo>
                        <a:lnTo>
                          <a:pt x="60" y="161"/>
                        </a:lnTo>
                        <a:lnTo>
                          <a:pt x="73" y="149"/>
                        </a:lnTo>
                        <a:lnTo>
                          <a:pt x="76" y="150"/>
                        </a:lnTo>
                        <a:lnTo>
                          <a:pt x="84" y="155"/>
                        </a:lnTo>
                        <a:lnTo>
                          <a:pt x="93" y="159"/>
                        </a:lnTo>
                        <a:lnTo>
                          <a:pt x="99" y="161"/>
                        </a:lnTo>
                        <a:lnTo>
                          <a:pt x="110" y="164"/>
                        </a:lnTo>
                        <a:lnTo>
                          <a:pt x="126" y="170"/>
                        </a:lnTo>
                        <a:lnTo>
                          <a:pt x="142" y="180"/>
                        </a:lnTo>
                        <a:lnTo>
                          <a:pt x="153" y="186"/>
                        </a:lnTo>
                        <a:lnTo>
                          <a:pt x="163" y="190"/>
                        </a:lnTo>
                        <a:lnTo>
                          <a:pt x="179" y="199"/>
                        </a:lnTo>
                        <a:lnTo>
                          <a:pt x="196" y="209"/>
                        </a:lnTo>
                        <a:lnTo>
                          <a:pt x="206" y="216"/>
                        </a:lnTo>
                        <a:lnTo>
                          <a:pt x="219" y="225"/>
                        </a:lnTo>
                        <a:lnTo>
                          <a:pt x="232" y="235"/>
                        </a:lnTo>
                        <a:lnTo>
                          <a:pt x="245" y="244"/>
                        </a:lnTo>
                        <a:lnTo>
                          <a:pt x="252" y="247"/>
                        </a:lnTo>
                        <a:lnTo>
                          <a:pt x="256" y="254"/>
                        </a:lnTo>
                        <a:lnTo>
                          <a:pt x="266" y="265"/>
                        </a:lnTo>
                        <a:lnTo>
                          <a:pt x="267" y="270"/>
                        </a:lnTo>
                        <a:lnTo>
                          <a:pt x="268" y="274"/>
                        </a:lnTo>
                        <a:lnTo>
                          <a:pt x="269" y="279"/>
                        </a:lnTo>
                        <a:lnTo>
                          <a:pt x="269" y="283"/>
                        </a:lnTo>
                        <a:lnTo>
                          <a:pt x="269" y="286"/>
                        </a:lnTo>
                        <a:lnTo>
                          <a:pt x="269" y="289"/>
                        </a:lnTo>
                        <a:lnTo>
                          <a:pt x="270" y="290"/>
                        </a:lnTo>
                        <a:lnTo>
                          <a:pt x="273" y="291"/>
                        </a:lnTo>
                        <a:lnTo>
                          <a:pt x="276" y="292"/>
                        </a:lnTo>
                        <a:lnTo>
                          <a:pt x="284" y="296"/>
                        </a:lnTo>
                        <a:lnTo>
                          <a:pt x="292" y="302"/>
                        </a:lnTo>
                        <a:lnTo>
                          <a:pt x="301" y="309"/>
                        </a:lnTo>
                        <a:lnTo>
                          <a:pt x="318" y="321"/>
                        </a:lnTo>
                        <a:lnTo>
                          <a:pt x="325" y="327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1" name="Freeform 235"/>
                  <p:cNvSpPr>
                    <a:spLocks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2223162" y="1552020"/>
                    <a:ext cx="971824" cy="923958"/>
                  </a:xfrm>
                  <a:custGeom>
                    <a:avLst/>
                    <a:gdLst>
                      <a:gd name="T0" fmla="*/ 394260 w 232"/>
                      <a:gd name="T1" fmla="*/ 915163 h 248"/>
                      <a:gd name="T2" fmla="*/ 402648 w 232"/>
                      <a:gd name="T3" fmla="*/ 904002 h 248"/>
                      <a:gd name="T4" fmla="*/ 411037 w 232"/>
                      <a:gd name="T5" fmla="*/ 885401 h 248"/>
                      <a:gd name="T6" fmla="*/ 419425 w 232"/>
                      <a:gd name="T7" fmla="*/ 863080 h 248"/>
                      <a:gd name="T8" fmla="*/ 432008 w 232"/>
                      <a:gd name="T9" fmla="*/ 859360 h 248"/>
                      <a:gd name="T10" fmla="*/ 436202 w 232"/>
                      <a:gd name="T11" fmla="*/ 885401 h 248"/>
                      <a:gd name="T12" fmla="*/ 444591 w 232"/>
                      <a:gd name="T13" fmla="*/ 896562 h 248"/>
                      <a:gd name="T14" fmla="*/ 452979 w 232"/>
                      <a:gd name="T15" fmla="*/ 900282 h 248"/>
                      <a:gd name="T16" fmla="*/ 461368 w 232"/>
                      <a:gd name="T17" fmla="*/ 900282 h 248"/>
                      <a:gd name="T18" fmla="*/ 473951 w 232"/>
                      <a:gd name="T19" fmla="*/ 896562 h 248"/>
                      <a:gd name="T20" fmla="*/ 486534 w 232"/>
                      <a:gd name="T21" fmla="*/ 885401 h 248"/>
                      <a:gd name="T22" fmla="*/ 905959 w 232"/>
                      <a:gd name="T23" fmla="*/ 870521 h 248"/>
                      <a:gd name="T24" fmla="*/ 893376 w 232"/>
                      <a:gd name="T25" fmla="*/ 758915 h 248"/>
                      <a:gd name="T26" fmla="*/ 868211 w 232"/>
                      <a:gd name="T27" fmla="*/ 513384 h 248"/>
                      <a:gd name="T28" fmla="*/ 843045 w 232"/>
                      <a:gd name="T29" fmla="*/ 271573 h 248"/>
                      <a:gd name="T30" fmla="*/ 830462 w 232"/>
                      <a:gd name="T31" fmla="*/ 159967 h 248"/>
                      <a:gd name="T32" fmla="*/ 901765 w 232"/>
                      <a:gd name="T33" fmla="*/ 163688 h 248"/>
                      <a:gd name="T34" fmla="*/ 973067 w 232"/>
                      <a:gd name="T35" fmla="*/ 171128 h 248"/>
                      <a:gd name="T36" fmla="*/ 675275 w 232"/>
                      <a:gd name="T37" fmla="*/ 7440 h 248"/>
                      <a:gd name="T38" fmla="*/ 671081 w 232"/>
                      <a:gd name="T39" fmla="*/ 29761 h 248"/>
                      <a:gd name="T40" fmla="*/ 675275 w 232"/>
                      <a:gd name="T41" fmla="*/ 66963 h 248"/>
                      <a:gd name="T42" fmla="*/ 411037 w 232"/>
                      <a:gd name="T43" fmla="*/ 89284 h 248"/>
                      <a:gd name="T44" fmla="*/ 411037 w 232"/>
                      <a:gd name="T45" fmla="*/ 275293 h 248"/>
                      <a:gd name="T46" fmla="*/ 398454 w 232"/>
                      <a:gd name="T47" fmla="*/ 282733 h 248"/>
                      <a:gd name="T48" fmla="*/ 364900 w 232"/>
                      <a:gd name="T49" fmla="*/ 290174 h 248"/>
                      <a:gd name="T50" fmla="*/ 301986 w 232"/>
                      <a:gd name="T51" fmla="*/ 305054 h 248"/>
                      <a:gd name="T52" fmla="*/ 310375 w 232"/>
                      <a:gd name="T53" fmla="*/ 327375 h 248"/>
                      <a:gd name="T54" fmla="*/ 327152 w 232"/>
                      <a:gd name="T55" fmla="*/ 357137 h 248"/>
                      <a:gd name="T56" fmla="*/ 335540 w 232"/>
                      <a:gd name="T57" fmla="*/ 390618 h 248"/>
                      <a:gd name="T58" fmla="*/ 339735 w 232"/>
                      <a:gd name="T59" fmla="*/ 427820 h 248"/>
                      <a:gd name="T60" fmla="*/ 37748 w 232"/>
                      <a:gd name="T61" fmla="*/ 442701 h 248"/>
                      <a:gd name="T62" fmla="*/ 20971 w 232"/>
                      <a:gd name="T63" fmla="*/ 483623 h 248"/>
                      <a:gd name="T64" fmla="*/ 25166 w 232"/>
                      <a:gd name="T65" fmla="*/ 531985 h 248"/>
                      <a:gd name="T66" fmla="*/ 33554 w 232"/>
                      <a:gd name="T67" fmla="*/ 576627 h 248"/>
                      <a:gd name="T68" fmla="*/ 37748 w 232"/>
                      <a:gd name="T69" fmla="*/ 624989 h 248"/>
                      <a:gd name="T70" fmla="*/ 37748 w 232"/>
                      <a:gd name="T71" fmla="*/ 677072 h 248"/>
                      <a:gd name="T72" fmla="*/ 33554 w 232"/>
                      <a:gd name="T73" fmla="*/ 721714 h 248"/>
                      <a:gd name="T74" fmla="*/ 25166 w 232"/>
                      <a:gd name="T75" fmla="*/ 766356 h 248"/>
                      <a:gd name="T76" fmla="*/ 8389 w 232"/>
                      <a:gd name="T77" fmla="*/ 803557 h 248"/>
                      <a:gd name="T78" fmla="*/ 8389 w 232"/>
                      <a:gd name="T79" fmla="*/ 814718 h 248"/>
                      <a:gd name="T80" fmla="*/ 12583 w 232"/>
                      <a:gd name="T81" fmla="*/ 818438 h 248"/>
                      <a:gd name="T82" fmla="*/ 12583 w 232"/>
                      <a:gd name="T83" fmla="*/ 825879 h 248"/>
                      <a:gd name="T84" fmla="*/ 29360 w 232"/>
                      <a:gd name="T85" fmla="*/ 807278 h 248"/>
                      <a:gd name="T86" fmla="*/ 75497 w 232"/>
                      <a:gd name="T87" fmla="*/ 792397 h 248"/>
                      <a:gd name="T88" fmla="*/ 150993 w 232"/>
                      <a:gd name="T89" fmla="*/ 770076 h 248"/>
                      <a:gd name="T90" fmla="*/ 188741 w 232"/>
                      <a:gd name="T91" fmla="*/ 773796 h 248"/>
                      <a:gd name="T92" fmla="*/ 213907 w 232"/>
                      <a:gd name="T93" fmla="*/ 788677 h 248"/>
                      <a:gd name="T94" fmla="*/ 234878 w 232"/>
                      <a:gd name="T95" fmla="*/ 796117 h 248"/>
                      <a:gd name="T96" fmla="*/ 260044 w 232"/>
                      <a:gd name="T97" fmla="*/ 799837 h 248"/>
                      <a:gd name="T98" fmla="*/ 276821 w 232"/>
                      <a:gd name="T99" fmla="*/ 814718 h 248"/>
                      <a:gd name="T100" fmla="*/ 281015 w 232"/>
                      <a:gd name="T101" fmla="*/ 837039 h 248"/>
                      <a:gd name="T102" fmla="*/ 293598 w 232"/>
                      <a:gd name="T103" fmla="*/ 859360 h 248"/>
                      <a:gd name="T104" fmla="*/ 310375 w 232"/>
                      <a:gd name="T105" fmla="*/ 874241 h 248"/>
                      <a:gd name="T106" fmla="*/ 356512 w 232"/>
                      <a:gd name="T107" fmla="*/ 904002 h 248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32"/>
                      <a:gd name="T163" fmla="*/ 0 h 248"/>
                      <a:gd name="T164" fmla="*/ 232 w 232"/>
                      <a:gd name="T165" fmla="*/ 248 h 248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32" h="248">
                        <a:moveTo>
                          <a:pt x="91" y="248"/>
                        </a:moveTo>
                        <a:lnTo>
                          <a:pt x="94" y="246"/>
                        </a:lnTo>
                        <a:lnTo>
                          <a:pt x="95" y="245"/>
                        </a:lnTo>
                        <a:lnTo>
                          <a:pt x="96" y="243"/>
                        </a:lnTo>
                        <a:lnTo>
                          <a:pt x="97" y="240"/>
                        </a:lnTo>
                        <a:lnTo>
                          <a:pt x="98" y="238"/>
                        </a:lnTo>
                        <a:lnTo>
                          <a:pt x="99" y="235"/>
                        </a:lnTo>
                        <a:lnTo>
                          <a:pt x="100" y="232"/>
                        </a:lnTo>
                        <a:lnTo>
                          <a:pt x="103" y="230"/>
                        </a:lnTo>
                        <a:lnTo>
                          <a:pt x="103" y="231"/>
                        </a:lnTo>
                        <a:lnTo>
                          <a:pt x="103" y="236"/>
                        </a:lnTo>
                        <a:lnTo>
                          <a:pt x="104" y="238"/>
                        </a:lnTo>
                        <a:lnTo>
                          <a:pt x="105" y="240"/>
                        </a:lnTo>
                        <a:lnTo>
                          <a:pt x="106" y="241"/>
                        </a:lnTo>
                        <a:lnTo>
                          <a:pt x="107" y="241"/>
                        </a:lnTo>
                        <a:lnTo>
                          <a:pt x="108" y="242"/>
                        </a:lnTo>
                        <a:lnTo>
                          <a:pt x="109" y="242"/>
                        </a:lnTo>
                        <a:lnTo>
                          <a:pt x="110" y="242"/>
                        </a:lnTo>
                        <a:lnTo>
                          <a:pt x="112" y="241"/>
                        </a:lnTo>
                        <a:lnTo>
                          <a:pt x="113" y="241"/>
                        </a:lnTo>
                        <a:lnTo>
                          <a:pt x="114" y="240"/>
                        </a:lnTo>
                        <a:lnTo>
                          <a:pt x="116" y="238"/>
                        </a:lnTo>
                        <a:lnTo>
                          <a:pt x="118" y="236"/>
                        </a:lnTo>
                        <a:lnTo>
                          <a:pt x="216" y="234"/>
                        </a:lnTo>
                        <a:lnTo>
                          <a:pt x="215" y="225"/>
                        </a:lnTo>
                        <a:lnTo>
                          <a:pt x="213" y="204"/>
                        </a:lnTo>
                        <a:lnTo>
                          <a:pt x="210" y="173"/>
                        </a:lnTo>
                        <a:lnTo>
                          <a:pt x="207" y="138"/>
                        </a:lnTo>
                        <a:lnTo>
                          <a:pt x="204" y="103"/>
                        </a:lnTo>
                        <a:lnTo>
                          <a:pt x="201" y="73"/>
                        </a:lnTo>
                        <a:lnTo>
                          <a:pt x="199" y="51"/>
                        </a:lnTo>
                        <a:lnTo>
                          <a:pt x="198" y="43"/>
                        </a:lnTo>
                        <a:lnTo>
                          <a:pt x="203" y="43"/>
                        </a:lnTo>
                        <a:lnTo>
                          <a:pt x="215" y="44"/>
                        </a:lnTo>
                        <a:lnTo>
                          <a:pt x="226" y="45"/>
                        </a:lnTo>
                        <a:lnTo>
                          <a:pt x="232" y="46"/>
                        </a:lnTo>
                        <a:lnTo>
                          <a:pt x="161" y="0"/>
                        </a:lnTo>
                        <a:lnTo>
                          <a:pt x="161" y="2"/>
                        </a:lnTo>
                        <a:lnTo>
                          <a:pt x="160" y="5"/>
                        </a:lnTo>
                        <a:lnTo>
                          <a:pt x="160" y="8"/>
                        </a:lnTo>
                        <a:lnTo>
                          <a:pt x="161" y="11"/>
                        </a:lnTo>
                        <a:lnTo>
                          <a:pt x="161" y="18"/>
                        </a:lnTo>
                        <a:lnTo>
                          <a:pt x="161" y="24"/>
                        </a:lnTo>
                        <a:lnTo>
                          <a:pt x="98" y="24"/>
                        </a:lnTo>
                        <a:lnTo>
                          <a:pt x="94" y="22"/>
                        </a:lnTo>
                        <a:lnTo>
                          <a:pt x="98" y="74"/>
                        </a:lnTo>
                        <a:lnTo>
                          <a:pt x="97" y="75"/>
                        </a:lnTo>
                        <a:lnTo>
                          <a:pt x="95" y="76"/>
                        </a:lnTo>
                        <a:lnTo>
                          <a:pt x="91" y="77"/>
                        </a:lnTo>
                        <a:lnTo>
                          <a:pt x="87" y="78"/>
                        </a:lnTo>
                        <a:lnTo>
                          <a:pt x="78" y="80"/>
                        </a:lnTo>
                        <a:lnTo>
                          <a:pt x="72" y="82"/>
                        </a:lnTo>
                        <a:lnTo>
                          <a:pt x="73" y="85"/>
                        </a:lnTo>
                        <a:lnTo>
                          <a:pt x="74" y="88"/>
                        </a:lnTo>
                        <a:lnTo>
                          <a:pt x="76" y="92"/>
                        </a:lnTo>
                        <a:lnTo>
                          <a:pt x="78" y="96"/>
                        </a:lnTo>
                        <a:lnTo>
                          <a:pt x="79" y="99"/>
                        </a:lnTo>
                        <a:lnTo>
                          <a:pt x="80" y="105"/>
                        </a:lnTo>
                        <a:lnTo>
                          <a:pt x="80" y="112"/>
                        </a:lnTo>
                        <a:lnTo>
                          <a:pt x="81" y="115"/>
                        </a:lnTo>
                        <a:lnTo>
                          <a:pt x="13" y="115"/>
                        </a:lnTo>
                        <a:lnTo>
                          <a:pt x="9" y="119"/>
                        </a:lnTo>
                        <a:lnTo>
                          <a:pt x="4" y="123"/>
                        </a:lnTo>
                        <a:lnTo>
                          <a:pt x="5" y="130"/>
                        </a:lnTo>
                        <a:lnTo>
                          <a:pt x="5" y="137"/>
                        </a:lnTo>
                        <a:lnTo>
                          <a:pt x="6" y="143"/>
                        </a:lnTo>
                        <a:lnTo>
                          <a:pt x="7" y="149"/>
                        </a:lnTo>
                        <a:lnTo>
                          <a:pt x="8" y="155"/>
                        </a:lnTo>
                        <a:lnTo>
                          <a:pt x="8" y="161"/>
                        </a:lnTo>
                        <a:lnTo>
                          <a:pt x="9" y="168"/>
                        </a:lnTo>
                        <a:lnTo>
                          <a:pt x="9" y="176"/>
                        </a:lnTo>
                        <a:lnTo>
                          <a:pt x="9" y="182"/>
                        </a:lnTo>
                        <a:lnTo>
                          <a:pt x="8" y="188"/>
                        </a:lnTo>
                        <a:lnTo>
                          <a:pt x="8" y="194"/>
                        </a:lnTo>
                        <a:lnTo>
                          <a:pt x="7" y="200"/>
                        </a:lnTo>
                        <a:lnTo>
                          <a:pt x="6" y="206"/>
                        </a:lnTo>
                        <a:lnTo>
                          <a:pt x="4" y="211"/>
                        </a:lnTo>
                        <a:lnTo>
                          <a:pt x="2" y="216"/>
                        </a:lnTo>
                        <a:lnTo>
                          <a:pt x="0" y="221"/>
                        </a:lnTo>
                        <a:lnTo>
                          <a:pt x="2" y="219"/>
                        </a:lnTo>
                        <a:lnTo>
                          <a:pt x="3" y="219"/>
                        </a:lnTo>
                        <a:lnTo>
                          <a:pt x="3" y="220"/>
                        </a:lnTo>
                        <a:lnTo>
                          <a:pt x="3" y="221"/>
                        </a:lnTo>
                        <a:lnTo>
                          <a:pt x="3" y="222"/>
                        </a:lnTo>
                        <a:lnTo>
                          <a:pt x="4" y="217"/>
                        </a:lnTo>
                        <a:lnTo>
                          <a:pt x="7" y="217"/>
                        </a:lnTo>
                        <a:lnTo>
                          <a:pt x="12" y="215"/>
                        </a:lnTo>
                        <a:lnTo>
                          <a:pt x="18" y="213"/>
                        </a:lnTo>
                        <a:lnTo>
                          <a:pt x="25" y="211"/>
                        </a:lnTo>
                        <a:lnTo>
                          <a:pt x="36" y="207"/>
                        </a:lnTo>
                        <a:lnTo>
                          <a:pt x="41" y="205"/>
                        </a:lnTo>
                        <a:lnTo>
                          <a:pt x="45" y="208"/>
                        </a:lnTo>
                        <a:lnTo>
                          <a:pt x="48" y="210"/>
                        </a:lnTo>
                        <a:lnTo>
                          <a:pt x="51" y="212"/>
                        </a:lnTo>
                        <a:lnTo>
                          <a:pt x="53" y="213"/>
                        </a:lnTo>
                        <a:lnTo>
                          <a:pt x="56" y="214"/>
                        </a:lnTo>
                        <a:lnTo>
                          <a:pt x="59" y="215"/>
                        </a:lnTo>
                        <a:lnTo>
                          <a:pt x="62" y="215"/>
                        </a:lnTo>
                        <a:lnTo>
                          <a:pt x="66" y="215"/>
                        </a:lnTo>
                        <a:lnTo>
                          <a:pt x="66" y="219"/>
                        </a:lnTo>
                        <a:lnTo>
                          <a:pt x="66" y="222"/>
                        </a:lnTo>
                        <a:lnTo>
                          <a:pt x="67" y="225"/>
                        </a:lnTo>
                        <a:lnTo>
                          <a:pt x="69" y="228"/>
                        </a:lnTo>
                        <a:lnTo>
                          <a:pt x="70" y="231"/>
                        </a:lnTo>
                        <a:lnTo>
                          <a:pt x="72" y="233"/>
                        </a:lnTo>
                        <a:lnTo>
                          <a:pt x="74" y="235"/>
                        </a:lnTo>
                        <a:lnTo>
                          <a:pt x="76" y="237"/>
                        </a:lnTo>
                        <a:lnTo>
                          <a:pt x="85" y="243"/>
                        </a:lnTo>
                        <a:lnTo>
                          <a:pt x="91" y="248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2" name="Freeform 236"/>
                  <p:cNvSpPr>
                    <a:spLocks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2589003" y="1695169"/>
                    <a:ext cx="1317028" cy="1106147"/>
                  </a:xfrm>
                  <a:custGeom>
                    <a:avLst/>
                    <a:gdLst>
                      <a:gd name="T0" fmla="*/ 124928 w 948"/>
                      <a:gd name="T1" fmla="*/ 976285 h 893"/>
                      <a:gd name="T2" fmla="*/ 167958 w 948"/>
                      <a:gd name="T3" fmla="*/ 976285 h 893"/>
                      <a:gd name="T4" fmla="*/ 202661 w 948"/>
                      <a:gd name="T5" fmla="*/ 970091 h 893"/>
                      <a:gd name="T6" fmla="*/ 258184 w 948"/>
                      <a:gd name="T7" fmla="*/ 961418 h 893"/>
                      <a:gd name="T8" fmla="*/ 273453 w 948"/>
                      <a:gd name="T9" fmla="*/ 1007259 h 893"/>
                      <a:gd name="T10" fmla="*/ 294274 w 948"/>
                      <a:gd name="T11" fmla="*/ 1034515 h 893"/>
                      <a:gd name="T12" fmla="*/ 313708 w 948"/>
                      <a:gd name="T13" fmla="*/ 1048144 h 893"/>
                      <a:gd name="T14" fmla="*/ 341469 w 948"/>
                      <a:gd name="T15" fmla="*/ 1053100 h 893"/>
                      <a:gd name="T16" fmla="*/ 341469 w 948"/>
                      <a:gd name="T17" fmla="*/ 1091507 h 893"/>
                      <a:gd name="T18" fmla="*/ 452516 w 948"/>
                      <a:gd name="T19" fmla="*/ 1101418 h 893"/>
                      <a:gd name="T20" fmla="*/ 463621 w 948"/>
                      <a:gd name="T21" fmla="*/ 1085312 h 893"/>
                      <a:gd name="T22" fmla="*/ 481666 w 948"/>
                      <a:gd name="T23" fmla="*/ 1079117 h 893"/>
                      <a:gd name="T24" fmla="*/ 483054 w 948"/>
                      <a:gd name="T25" fmla="*/ 1100179 h 893"/>
                      <a:gd name="T26" fmla="*/ 496935 w 948"/>
                      <a:gd name="T27" fmla="*/ 1106374 h 893"/>
                      <a:gd name="T28" fmla="*/ 534413 w 948"/>
                      <a:gd name="T29" fmla="*/ 1106374 h 893"/>
                      <a:gd name="T30" fmla="*/ 556623 w 948"/>
                      <a:gd name="T31" fmla="*/ 1058055 h 893"/>
                      <a:gd name="T32" fmla="*/ 571892 w 948"/>
                      <a:gd name="T33" fmla="*/ 976285 h 893"/>
                      <a:gd name="T34" fmla="*/ 588549 w 948"/>
                      <a:gd name="T35" fmla="*/ 955223 h 893"/>
                      <a:gd name="T36" fmla="*/ 627415 w 948"/>
                      <a:gd name="T37" fmla="*/ 934161 h 893"/>
                      <a:gd name="T38" fmla="*/ 673222 w 948"/>
                      <a:gd name="T39" fmla="*/ 920533 h 893"/>
                      <a:gd name="T40" fmla="*/ 695431 w 948"/>
                      <a:gd name="T41" fmla="*/ 903188 h 893"/>
                      <a:gd name="T42" fmla="*/ 714865 w 948"/>
                      <a:gd name="T43" fmla="*/ 869736 h 893"/>
                      <a:gd name="T44" fmla="*/ 742626 w 948"/>
                      <a:gd name="T45" fmla="*/ 827612 h 893"/>
                      <a:gd name="T46" fmla="*/ 759283 w 948"/>
                      <a:gd name="T47" fmla="*/ 817701 h 893"/>
                      <a:gd name="T48" fmla="*/ 793986 w 948"/>
                      <a:gd name="T49" fmla="*/ 816462 h 893"/>
                      <a:gd name="T50" fmla="*/ 839792 w 948"/>
                      <a:gd name="T51" fmla="*/ 797878 h 893"/>
                      <a:gd name="T52" fmla="*/ 886987 w 948"/>
                      <a:gd name="T53" fmla="*/ 773099 h 893"/>
                      <a:gd name="T54" fmla="*/ 935570 w 948"/>
                      <a:gd name="T55" fmla="*/ 759471 h 893"/>
                      <a:gd name="T56" fmla="*/ 1004975 w 948"/>
                      <a:gd name="T57" fmla="*/ 755754 h 893"/>
                      <a:gd name="T58" fmla="*/ 1093812 w 948"/>
                      <a:gd name="T59" fmla="*/ 745842 h 893"/>
                      <a:gd name="T60" fmla="*/ 1131291 w 948"/>
                      <a:gd name="T61" fmla="*/ 735931 h 893"/>
                      <a:gd name="T62" fmla="*/ 1197919 w 948"/>
                      <a:gd name="T63" fmla="*/ 730975 h 893"/>
                      <a:gd name="T64" fmla="*/ 1250666 w 948"/>
                      <a:gd name="T65" fmla="*/ 722303 h 893"/>
                      <a:gd name="T66" fmla="*/ 1267323 w 948"/>
                      <a:gd name="T67" fmla="*/ 711152 h 893"/>
                      <a:gd name="T68" fmla="*/ 1292309 w 948"/>
                      <a:gd name="T69" fmla="*/ 673984 h 893"/>
                      <a:gd name="T70" fmla="*/ 1308966 w 948"/>
                      <a:gd name="T71" fmla="*/ 624426 h 893"/>
                      <a:gd name="T72" fmla="*/ 1315906 w 948"/>
                      <a:gd name="T73" fmla="*/ 571152 h 893"/>
                      <a:gd name="T74" fmla="*/ 1314518 w 948"/>
                      <a:gd name="T75" fmla="*/ 521594 h 893"/>
                      <a:gd name="T76" fmla="*/ 1308966 w 948"/>
                      <a:gd name="T77" fmla="*/ 449735 h 893"/>
                      <a:gd name="T78" fmla="*/ 1279816 w 948"/>
                      <a:gd name="T79" fmla="*/ 441063 h 893"/>
                      <a:gd name="T80" fmla="*/ 1196531 w 948"/>
                      <a:gd name="T81" fmla="*/ 398939 h 893"/>
                      <a:gd name="T82" fmla="*/ 1102141 w 948"/>
                      <a:gd name="T83" fmla="*/ 344426 h 893"/>
                      <a:gd name="T84" fmla="*/ 1024408 w 948"/>
                      <a:gd name="T85" fmla="*/ 267611 h 893"/>
                      <a:gd name="T86" fmla="*/ 571892 w 948"/>
                      <a:gd name="T87" fmla="*/ 14867 h 893"/>
                      <a:gd name="T88" fmla="*/ 483054 w 948"/>
                      <a:gd name="T89" fmla="*/ 126372 h 893"/>
                      <a:gd name="T90" fmla="*/ 526085 w 948"/>
                      <a:gd name="T91" fmla="*/ 501771 h 893"/>
                      <a:gd name="T92" fmla="*/ 544130 w 948"/>
                      <a:gd name="T93" fmla="*/ 700002 h 893"/>
                      <a:gd name="T94" fmla="*/ 129092 w 948"/>
                      <a:gd name="T95" fmla="*/ 732214 h 893"/>
                      <a:gd name="T96" fmla="*/ 109659 w 948"/>
                      <a:gd name="T97" fmla="*/ 750798 h 893"/>
                      <a:gd name="T98" fmla="*/ 93002 w 948"/>
                      <a:gd name="T99" fmla="*/ 755754 h 893"/>
                      <a:gd name="T100" fmla="*/ 79121 w 948"/>
                      <a:gd name="T101" fmla="*/ 752037 h 893"/>
                      <a:gd name="T102" fmla="*/ 68016 w 948"/>
                      <a:gd name="T103" fmla="*/ 732214 h 893"/>
                      <a:gd name="T104" fmla="*/ 55523 w 948"/>
                      <a:gd name="T105" fmla="*/ 719825 h 893"/>
                      <a:gd name="T106" fmla="*/ 40255 w 948"/>
                      <a:gd name="T107" fmla="*/ 749559 h 893"/>
                      <a:gd name="T108" fmla="*/ 20821 w 948"/>
                      <a:gd name="T109" fmla="*/ 771860 h 893"/>
                      <a:gd name="T110" fmla="*/ 93002 w 948"/>
                      <a:gd name="T111" fmla="*/ 908144 h 893"/>
                      <a:gd name="T112" fmla="*/ 84673 w 948"/>
                      <a:gd name="T113" fmla="*/ 926728 h 893"/>
                      <a:gd name="T114" fmla="*/ 86061 w 948"/>
                      <a:gd name="T115" fmla="*/ 941595 h 893"/>
                      <a:gd name="T116" fmla="*/ 74957 w 948"/>
                      <a:gd name="T117" fmla="*/ 976285 h 893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948"/>
                      <a:gd name="T178" fmla="*/ 0 h 893"/>
                      <a:gd name="T179" fmla="*/ 948 w 948"/>
                      <a:gd name="T180" fmla="*/ 893 h 893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948" h="893">
                        <a:moveTo>
                          <a:pt x="54" y="788"/>
                        </a:moveTo>
                        <a:lnTo>
                          <a:pt x="74" y="788"/>
                        </a:lnTo>
                        <a:lnTo>
                          <a:pt x="90" y="788"/>
                        </a:lnTo>
                        <a:lnTo>
                          <a:pt x="100" y="788"/>
                        </a:lnTo>
                        <a:lnTo>
                          <a:pt x="106" y="788"/>
                        </a:lnTo>
                        <a:lnTo>
                          <a:pt x="121" y="788"/>
                        </a:lnTo>
                        <a:lnTo>
                          <a:pt x="135" y="787"/>
                        </a:lnTo>
                        <a:lnTo>
                          <a:pt x="140" y="785"/>
                        </a:lnTo>
                        <a:lnTo>
                          <a:pt x="146" y="783"/>
                        </a:lnTo>
                        <a:lnTo>
                          <a:pt x="150" y="780"/>
                        </a:lnTo>
                        <a:lnTo>
                          <a:pt x="152" y="776"/>
                        </a:lnTo>
                        <a:lnTo>
                          <a:pt x="186" y="776"/>
                        </a:lnTo>
                        <a:lnTo>
                          <a:pt x="189" y="788"/>
                        </a:lnTo>
                        <a:lnTo>
                          <a:pt x="193" y="800"/>
                        </a:lnTo>
                        <a:lnTo>
                          <a:pt x="197" y="813"/>
                        </a:lnTo>
                        <a:lnTo>
                          <a:pt x="204" y="825"/>
                        </a:lnTo>
                        <a:lnTo>
                          <a:pt x="207" y="830"/>
                        </a:lnTo>
                        <a:lnTo>
                          <a:pt x="212" y="835"/>
                        </a:lnTo>
                        <a:lnTo>
                          <a:pt x="216" y="839"/>
                        </a:lnTo>
                        <a:lnTo>
                          <a:pt x="221" y="843"/>
                        </a:lnTo>
                        <a:lnTo>
                          <a:pt x="226" y="846"/>
                        </a:lnTo>
                        <a:lnTo>
                          <a:pt x="233" y="848"/>
                        </a:lnTo>
                        <a:lnTo>
                          <a:pt x="239" y="849"/>
                        </a:lnTo>
                        <a:lnTo>
                          <a:pt x="246" y="850"/>
                        </a:lnTo>
                        <a:lnTo>
                          <a:pt x="246" y="862"/>
                        </a:lnTo>
                        <a:lnTo>
                          <a:pt x="246" y="871"/>
                        </a:lnTo>
                        <a:lnTo>
                          <a:pt x="246" y="881"/>
                        </a:lnTo>
                        <a:lnTo>
                          <a:pt x="246" y="893"/>
                        </a:lnTo>
                        <a:lnTo>
                          <a:pt x="326" y="893"/>
                        </a:lnTo>
                        <a:lnTo>
                          <a:pt x="326" y="889"/>
                        </a:lnTo>
                        <a:lnTo>
                          <a:pt x="328" y="884"/>
                        </a:lnTo>
                        <a:lnTo>
                          <a:pt x="330" y="880"/>
                        </a:lnTo>
                        <a:lnTo>
                          <a:pt x="334" y="876"/>
                        </a:lnTo>
                        <a:lnTo>
                          <a:pt x="339" y="868"/>
                        </a:lnTo>
                        <a:lnTo>
                          <a:pt x="346" y="862"/>
                        </a:lnTo>
                        <a:lnTo>
                          <a:pt x="347" y="871"/>
                        </a:lnTo>
                        <a:lnTo>
                          <a:pt x="348" y="880"/>
                        </a:lnTo>
                        <a:lnTo>
                          <a:pt x="349" y="884"/>
                        </a:lnTo>
                        <a:lnTo>
                          <a:pt x="348" y="888"/>
                        </a:lnTo>
                        <a:lnTo>
                          <a:pt x="348" y="891"/>
                        </a:lnTo>
                        <a:lnTo>
                          <a:pt x="346" y="893"/>
                        </a:lnTo>
                        <a:lnTo>
                          <a:pt x="358" y="893"/>
                        </a:lnTo>
                        <a:lnTo>
                          <a:pt x="371" y="893"/>
                        </a:lnTo>
                        <a:lnTo>
                          <a:pt x="381" y="893"/>
                        </a:lnTo>
                        <a:lnTo>
                          <a:pt x="385" y="893"/>
                        </a:lnTo>
                        <a:lnTo>
                          <a:pt x="392" y="881"/>
                        </a:lnTo>
                        <a:lnTo>
                          <a:pt x="397" y="868"/>
                        </a:lnTo>
                        <a:lnTo>
                          <a:pt x="401" y="854"/>
                        </a:lnTo>
                        <a:lnTo>
                          <a:pt x="404" y="841"/>
                        </a:lnTo>
                        <a:lnTo>
                          <a:pt x="408" y="813"/>
                        </a:lnTo>
                        <a:lnTo>
                          <a:pt x="412" y="788"/>
                        </a:lnTo>
                        <a:lnTo>
                          <a:pt x="415" y="782"/>
                        </a:lnTo>
                        <a:lnTo>
                          <a:pt x="418" y="776"/>
                        </a:lnTo>
                        <a:lnTo>
                          <a:pt x="424" y="771"/>
                        </a:lnTo>
                        <a:lnTo>
                          <a:pt x="428" y="767"/>
                        </a:lnTo>
                        <a:lnTo>
                          <a:pt x="440" y="759"/>
                        </a:lnTo>
                        <a:lnTo>
                          <a:pt x="452" y="754"/>
                        </a:lnTo>
                        <a:lnTo>
                          <a:pt x="464" y="750"/>
                        </a:lnTo>
                        <a:lnTo>
                          <a:pt x="475" y="746"/>
                        </a:lnTo>
                        <a:lnTo>
                          <a:pt x="485" y="743"/>
                        </a:lnTo>
                        <a:lnTo>
                          <a:pt x="492" y="739"/>
                        </a:lnTo>
                        <a:lnTo>
                          <a:pt x="496" y="734"/>
                        </a:lnTo>
                        <a:lnTo>
                          <a:pt x="501" y="729"/>
                        </a:lnTo>
                        <a:lnTo>
                          <a:pt x="505" y="723"/>
                        </a:lnTo>
                        <a:lnTo>
                          <a:pt x="508" y="716"/>
                        </a:lnTo>
                        <a:lnTo>
                          <a:pt x="515" y="702"/>
                        </a:lnTo>
                        <a:lnTo>
                          <a:pt x="521" y="690"/>
                        </a:lnTo>
                        <a:lnTo>
                          <a:pt x="528" y="678"/>
                        </a:lnTo>
                        <a:lnTo>
                          <a:pt x="535" y="668"/>
                        </a:lnTo>
                        <a:lnTo>
                          <a:pt x="539" y="664"/>
                        </a:lnTo>
                        <a:lnTo>
                          <a:pt x="542" y="662"/>
                        </a:lnTo>
                        <a:lnTo>
                          <a:pt x="547" y="660"/>
                        </a:lnTo>
                        <a:lnTo>
                          <a:pt x="551" y="659"/>
                        </a:lnTo>
                        <a:lnTo>
                          <a:pt x="562" y="660"/>
                        </a:lnTo>
                        <a:lnTo>
                          <a:pt x="572" y="659"/>
                        </a:lnTo>
                        <a:lnTo>
                          <a:pt x="581" y="657"/>
                        </a:lnTo>
                        <a:lnTo>
                          <a:pt x="588" y="653"/>
                        </a:lnTo>
                        <a:lnTo>
                          <a:pt x="605" y="644"/>
                        </a:lnTo>
                        <a:lnTo>
                          <a:pt x="620" y="634"/>
                        </a:lnTo>
                        <a:lnTo>
                          <a:pt x="629" y="629"/>
                        </a:lnTo>
                        <a:lnTo>
                          <a:pt x="639" y="624"/>
                        </a:lnTo>
                        <a:lnTo>
                          <a:pt x="649" y="620"/>
                        </a:lnTo>
                        <a:lnTo>
                          <a:pt x="661" y="616"/>
                        </a:lnTo>
                        <a:lnTo>
                          <a:pt x="674" y="613"/>
                        </a:lnTo>
                        <a:lnTo>
                          <a:pt x="688" y="610"/>
                        </a:lnTo>
                        <a:lnTo>
                          <a:pt x="706" y="609"/>
                        </a:lnTo>
                        <a:lnTo>
                          <a:pt x="724" y="610"/>
                        </a:lnTo>
                        <a:lnTo>
                          <a:pt x="777" y="610"/>
                        </a:lnTo>
                        <a:lnTo>
                          <a:pt x="783" y="606"/>
                        </a:lnTo>
                        <a:lnTo>
                          <a:pt x="788" y="602"/>
                        </a:lnTo>
                        <a:lnTo>
                          <a:pt x="795" y="600"/>
                        </a:lnTo>
                        <a:lnTo>
                          <a:pt x="800" y="598"/>
                        </a:lnTo>
                        <a:lnTo>
                          <a:pt x="815" y="594"/>
                        </a:lnTo>
                        <a:lnTo>
                          <a:pt x="830" y="592"/>
                        </a:lnTo>
                        <a:lnTo>
                          <a:pt x="845" y="591"/>
                        </a:lnTo>
                        <a:lnTo>
                          <a:pt x="863" y="590"/>
                        </a:lnTo>
                        <a:lnTo>
                          <a:pt x="879" y="588"/>
                        </a:lnTo>
                        <a:lnTo>
                          <a:pt x="897" y="585"/>
                        </a:lnTo>
                        <a:lnTo>
                          <a:pt x="901" y="583"/>
                        </a:lnTo>
                        <a:lnTo>
                          <a:pt x="906" y="580"/>
                        </a:lnTo>
                        <a:lnTo>
                          <a:pt x="909" y="577"/>
                        </a:lnTo>
                        <a:lnTo>
                          <a:pt x="913" y="574"/>
                        </a:lnTo>
                        <a:lnTo>
                          <a:pt x="920" y="565"/>
                        </a:lnTo>
                        <a:lnTo>
                          <a:pt x="925" y="555"/>
                        </a:lnTo>
                        <a:lnTo>
                          <a:pt x="931" y="544"/>
                        </a:lnTo>
                        <a:lnTo>
                          <a:pt x="935" y="531"/>
                        </a:lnTo>
                        <a:lnTo>
                          <a:pt x="940" y="518"/>
                        </a:lnTo>
                        <a:lnTo>
                          <a:pt x="943" y="504"/>
                        </a:lnTo>
                        <a:lnTo>
                          <a:pt x="945" y="490"/>
                        </a:lnTo>
                        <a:lnTo>
                          <a:pt x="947" y="475"/>
                        </a:lnTo>
                        <a:lnTo>
                          <a:pt x="948" y="461"/>
                        </a:lnTo>
                        <a:lnTo>
                          <a:pt x="948" y="447"/>
                        </a:lnTo>
                        <a:lnTo>
                          <a:pt x="948" y="434"/>
                        </a:lnTo>
                        <a:lnTo>
                          <a:pt x="947" y="421"/>
                        </a:lnTo>
                        <a:lnTo>
                          <a:pt x="945" y="410"/>
                        </a:lnTo>
                        <a:lnTo>
                          <a:pt x="943" y="400"/>
                        </a:lnTo>
                        <a:lnTo>
                          <a:pt x="943" y="363"/>
                        </a:lnTo>
                        <a:lnTo>
                          <a:pt x="939" y="362"/>
                        </a:lnTo>
                        <a:lnTo>
                          <a:pt x="931" y="359"/>
                        </a:lnTo>
                        <a:lnTo>
                          <a:pt x="922" y="356"/>
                        </a:lnTo>
                        <a:lnTo>
                          <a:pt x="912" y="350"/>
                        </a:lnTo>
                        <a:lnTo>
                          <a:pt x="888" y="337"/>
                        </a:lnTo>
                        <a:lnTo>
                          <a:pt x="862" y="322"/>
                        </a:lnTo>
                        <a:lnTo>
                          <a:pt x="835" y="305"/>
                        </a:lnTo>
                        <a:lnTo>
                          <a:pt x="811" y="290"/>
                        </a:lnTo>
                        <a:lnTo>
                          <a:pt x="794" y="278"/>
                        </a:lnTo>
                        <a:lnTo>
                          <a:pt x="784" y="271"/>
                        </a:lnTo>
                        <a:lnTo>
                          <a:pt x="764" y="240"/>
                        </a:lnTo>
                        <a:lnTo>
                          <a:pt x="738" y="216"/>
                        </a:lnTo>
                        <a:lnTo>
                          <a:pt x="405" y="0"/>
                        </a:lnTo>
                        <a:lnTo>
                          <a:pt x="408" y="6"/>
                        </a:lnTo>
                        <a:lnTo>
                          <a:pt x="412" y="12"/>
                        </a:lnTo>
                        <a:lnTo>
                          <a:pt x="339" y="12"/>
                        </a:lnTo>
                        <a:lnTo>
                          <a:pt x="341" y="36"/>
                        </a:lnTo>
                        <a:lnTo>
                          <a:pt x="348" y="102"/>
                        </a:lnTo>
                        <a:lnTo>
                          <a:pt x="358" y="193"/>
                        </a:lnTo>
                        <a:lnTo>
                          <a:pt x="368" y="299"/>
                        </a:lnTo>
                        <a:lnTo>
                          <a:pt x="379" y="405"/>
                        </a:lnTo>
                        <a:lnTo>
                          <a:pt x="386" y="498"/>
                        </a:lnTo>
                        <a:lnTo>
                          <a:pt x="390" y="535"/>
                        </a:lnTo>
                        <a:lnTo>
                          <a:pt x="392" y="565"/>
                        </a:lnTo>
                        <a:lnTo>
                          <a:pt x="393" y="583"/>
                        </a:lnTo>
                        <a:lnTo>
                          <a:pt x="392" y="591"/>
                        </a:lnTo>
                        <a:lnTo>
                          <a:pt x="93" y="591"/>
                        </a:lnTo>
                        <a:lnTo>
                          <a:pt x="88" y="597"/>
                        </a:lnTo>
                        <a:lnTo>
                          <a:pt x="82" y="603"/>
                        </a:lnTo>
                        <a:lnTo>
                          <a:pt x="79" y="606"/>
                        </a:lnTo>
                        <a:lnTo>
                          <a:pt x="76" y="608"/>
                        </a:lnTo>
                        <a:lnTo>
                          <a:pt x="71" y="609"/>
                        </a:lnTo>
                        <a:lnTo>
                          <a:pt x="67" y="610"/>
                        </a:lnTo>
                        <a:lnTo>
                          <a:pt x="64" y="609"/>
                        </a:lnTo>
                        <a:lnTo>
                          <a:pt x="60" y="608"/>
                        </a:lnTo>
                        <a:lnTo>
                          <a:pt x="57" y="607"/>
                        </a:lnTo>
                        <a:lnTo>
                          <a:pt x="55" y="604"/>
                        </a:lnTo>
                        <a:lnTo>
                          <a:pt x="51" y="598"/>
                        </a:lnTo>
                        <a:lnTo>
                          <a:pt x="49" y="591"/>
                        </a:lnTo>
                        <a:lnTo>
                          <a:pt x="47" y="578"/>
                        </a:lnTo>
                        <a:lnTo>
                          <a:pt x="47" y="573"/>
                        </a:lnTo>
                        <a:lnTo>
                          <a:pt x="40" y="581"/>
                        </a:lnTo>
                        <a:lnTo>
                          <a:pt x="36" y="590"/>
                        </a:lnTo>
                        <a:lnTo>
                          <a:pt x="33" y="598"/>
                        </a:lnTo>
                        <a:lnTo>
                          <a:pt x="29" y="605"/>
                        </a:lnTo>
                        <a:lnTo>
                          <a:pt x="26" y="612"/>
                        </a:lnTo>
                        <a:lnTo>
                          <a:pt x="22" y="618"/>
                        </a:lnTo>
                        <a:lnTo>
                          <a:pt x="15" y="623"/>
                        </a:lnTo>
                        <a:lnTo>
                          <a:pt x="6" y="628"/>
                        </a:lnTo>
                        <a:lnTo>
                          <a:pt x="0" y="709"/>
                        </a:lnTo>
                        <a:lnTo>
                          <a:pt x="67" y="733"/>
                        </a:lnTo>
                        <a:lnTo>
                          <a:pt x="65" y="738"/>
                        </a:lnTo>
                        <a:lnTo>
                          <a:pt x="62" y="743"/>
                        </a:lnTo>
                        <a:lnTo>
                          <a:pt x="61" y="748"/>
                        </a:lnTo>
                        <a:lnTo>
                          <a:pt x="61" y="753"/>
                        </a:lnTo>
                        <a:lnTo>
                          <a:pt x="61" y="757"/>
                        </a:lnTo>
                        <a:lnTo>
                          <a:pt x="62" y="760"/>
                        </a:lnTo>
                        <a:lnTo>
                          <a:pt x="65" y="763"/>
                        </a:lnTo>
                        <a:lnTo>
                          <a:pt x="67" y="764"/>
                        </a:lnTo>
                        <a:lnTo>
                          <a:pt x="54" y="788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3" name="Freeform 237"/>
                  <p:cNvSpPr>
                    <a:spLocks/>
                  </p:cNvSpPr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2902313" y="764704"/>
                    <a:ext cx="1568426" cy="1369670"/>
                  </a:xfrm>
                  <a:custGeom>
                    <a:avLst/>
                    <a:gdLst>
                      <a:gd name="T0" fmla="*/ 1000490 w 373"/>
                      <a:gd name="T1" fmla="*/ 1357804 h 370"/>
                      <a:gd name="T2" fmla="*/ 1025712 w 373"/>
                      <a:gd name="T3" fmla="*/ 1350404 h 370"/>
                      <a:gd name="T4" fmla="*/ 1071954 w 373"/>
                      <a:gd name="T5" fmla="*/ 1361504 h 370"/>
                      <a:gd name="T6" fmla="*/ 1563791 w 373"/>
                      <a:gd name="T7" fmla="*/ 1024827 h 370"/>
                      <a:gd name="T8" fmla="*/ 1551180 w 373"/>
                      <a:gd name="T9" fmla="*/ 998929 h 370"/>
                      <a:gd name="T10" fmla="*/ 1517550 w 373"/>
                      <a:gd name="T11" fmla="*/ 976731 h 370"/>
                      <a:gd name="T12" fmla="*/ 1458698 w 373"/>
                      <a:gd name="T13" fmla="*/ 958232 h 370"/>
                      <a:gd name="T14" fmla="*/ 1425068 w 373"/>
                      <a:gd name="T15" fmla="*/ 939733 h 370"/>
                      <a:gd name="T16" fmla="*/ 1412457 w 373"/>
                      <a:gd name="T17" fmla="*/ 913835 h 370"/>
                      <a:gd name="T18" fmla="*/ 1416660 w 373"/>
                      <a:gd name="T19" fmla="*/ 843540 h 370"/>
                      <a:gd name="T20" fmla="*/ 1416660 w 373"/>
                      <a:gd name="T21" fmla="*/ 725149 h 370"/>
                      <a:gd name="T22" fmla="*/ 1404049 w 373"/>
                      <a:gd name="T23" fmla="*/ 621556 h 370"/>
                      <a:gd name="T24" fmla="*/ 1383031 w 373"/>
                      <a:gd name="T25" fmla="*/ 573459 h 370"/>
                      <a:gd name="T26" fmla="*/ 1357808 w 373"/>
                      <a:gd name="T27" fmla="*/ 525363 h 370"/>
                      <a:gd name="T28" fmla="*/ 1324178 w 373"/>
                      <a:gd name="T29" fmla="*/ 403271 h 370"/>
                      <a:gd name="T30" fmla="*/ 1286345 w 373"/>
                      <a:gd name="T31" fmla="*/ 332976 h 370"/>
                      <a:gd name="T32" fmla="*/ 1248511 w 373"/>
                      <a:gd name="T33" fmla="*/ 288580 h 370"/>
                      <a:gd name="T34" fmla="*/ 1261122 w 373"/>
                      <a:gd name="T35" fmla="*/ 233083 h 370"/>
                      <a:gd name="T36" fmla="*/ 1265326 w 373"/>
                      <a:gd name="T37" fmla="*/ 159089 h 370"/>
                      <a:gd name="T38" fmla="*/ 1269530 w 373"/>
                      <a:gd name="T39" fmla="*/ 85094 h 370"/>
                      <a:gd name="T40" fmla="*/ 1303159 w 373"/>
                      <a:gd name="T41" fmla="*/ 25898 h 370"/>
                      <a:gd name="T42" fmla="*/ 1269530 w 373"/>
                      <a:gd name="T43" fmla="*/ 22198 h 370"/>
                      <a:gd name="T44" fmla="*/ 1168640 w 373"/>
                      <a:gd name="T45" fmla="*/ 44397 h 370"/>
                      <a:gd name="T46" fmla="*/ 1029916 w 373"/>
                      <a:gd name="T47" fmla="*/ 44397 h 370"/>
                      <a:gd name="T48" fmla="*/ 865970 w 373"/>
                      <a:gd name="T49" fmla="*/ 51796 h 370"/>
                      <a:gd name="T50" fmla="*/ 706228 w 373"/>
                      <a:gd name="T51" fmla="*/ 88794 h 370"/>
                      <a:gd name="T52" fmla="*/ 609542 w 373"/>
                      <a:gd name="T53" fmla="*/ 118392 h 370"/>
                      <a:gd name="T54" fmla="*/ 521264 w 373"/>
                      <a:gd name="T55" fmla="*/ 162788 h 370"/>
                      <a:gd name="T56" fmla="*/ 517060 w 373"/>
                      <a:gd name="T57" fmla="*/ 192386 h 370"/>
                      <a:gd name="T58" fmla="*/ 550690 w 373"/>
                      <a:gd name="T59" fmla="*/ 329277 h 370"/>
                      <a:gd name="T60" fmla="*/ 563301 w 373"/>
                      <a:gd name="T61" fmla="*/ 344076 h 370"/>
                      <a:gd name="T62" fmla="*/ 592727 w 373"/>
                      <a:gd name="T63" fmla="*/ 362574 h 370"/>
                      <a:gd name="T64" fmla="*/ 596931 w 373"/>
                      <a:gd name="T65" fmla="*/ 377373 h 370"/>
                      <a:gd name="T66" fmla="*/ 584320 w 373"/>
                      <a:gd name="T67" fmla="*/ 395872 h 370"/>
                      <a:gd name="T68" fmla="*/ 538079 w 373"/>
                      <a:gd name="T69" fmla="*/ 395872 h 370"/>
                      <a:gd name="T70" fmla="*/ 445596 w 373"/>
                      <a:gd name="T71" fmla="*/ 418070 h 370"/>
                      <a:gd name="T72" fmla="*/ 399355 w 373"/>
                      <a:gd name="T73" fmla="*/ 451368 h 370"/>
                      <a:gd name="T74" fmla="*/ 378337 w 373"/>
                      <a:gd name="T75" fmla="*/ 484666 h 370"/>
                      <a:gd name="T76" fmla="*/ 344707 w 373"/>
                      <a:gd name="T77" fmla="*/ 506864 h 370"/>
                      <a:gd name="T78" fmla="*/ 277447 w 373"/>
                      <a:gd name="T79" fmla="*/ 554961 h 370"/>
                      <a:gd name="T80" fmla="*/ 214391 w 373"/>
                      <a:gd name="T81" fmla="*/ 584559 h 370"/>
                      <a:gd name="T82" fmla="*/ 130316 w 373"/>
                      <a:gd name="T83" fmla="*/ 591958 h 370"/>
                      <a:gd name="T84" fmla="*/ 84075 w 373"/>
                      <a:gd name="T85" fmla="*/ 606757 h 370"/>
                      <a:gd name="T86" fmla="*/ 33630 w 373"/>
                      <a:gd name="T87" fmla="*/ 643754 h 370"/>
                      <a:gd name="T88" fmla="*/ 0 w 373"/>
                      <a:gd name="T89" fmla="*/ 739948 h 370"/>
                      <a:gd name="T90" fmla="*/ 752469 w 373"/>
                      <a:gd name="T91" fmla="*/ 1224613 h 370"/>
                      <a:gd name="T92" fmla="*/ 844952 w 373"/>
                      <a:gd name="T93" fmla="*/ 1302308 h 370"/>
                      <a:gd name="T94" fmla="*/ 962656 w 373"/>
                      <a:gd name="T95" fmla="*/ 1361504 h 370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73"/>
                      <a:gd name="T145" fmla="*/ 0 h 370"/>
                      <a:gd name="T146" fmla="*/ 373 w 373"/>
                      <a:gd name="T147" fmla="*/ 370 h 370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73" h="370">
                        <a:moveTo>
                          <a:pt x="235" y="370"/>
                        </a:moveTo>
                        <a:lnTo>
                          <a:pt x="237" y="369"/>
                        </a:lnTo>
                        <a:lnTo>
                          <a:pt x="238" y="367"/>
                        </a:lnTo>
                        <a:lnTo>
                          <a:pt x="240" y="366"/>
                        </a:lnTo>
                        <a:lnTo>
                          <a:pt x="241" y="366"/>
                        </a:lnTo>
                        <a:lnTo>
                          <a:pt x="242" y="365"/>
                        </a:lnTo>
                        <a:lnTo>
                          <a:pt x="244" y="365"/>
                        </a:lnTo>
                        <a:lnTo>
                          <a:pt x="245" y="365"/>
                        </a:lnTo>
                        <a:lnTo>
                          <a:pt x="249" y="366"/>
                        </a:lnTo>
                        <a:lnTo>
                          <a:pt x="252" y="367"/>
                        </a:lnTo>
                        <a:lnTo>
                          <a:pt x="255" y="368"/>
                        </a:lnTo>
                        <a:lnTo>
                          <a:pt x="257" y="370"/>
                        </a:lnTo>
                        <a:lnTo>
                          <a:pt x="373" y="282"/>
                        </a:lnTo>
                        <a:lnTo>
                          <a:pt x="373" y="279"/>
                        </a:lnTo>
                        <a:lnTo>
                          <a:pt x="372" y="277"/>
                        </a:lnTo>
                        <a:lnTo>
                          <a:pt x="372" y="275"/>
                        </a:lnTo>
                        <a:lnTo>
                          <a:pt x="371" y="273"/>
                        </a:lnTo>
                        <a:lnTo>
                          <a:pt x="370" y="271"/>
                        </a:lnTo>
                        <a:lnTo>
                          <a:pt x="369" y="270"/>
                        </a:lnTo>
                        <a:lnTo>
                          <a:pt x="368" y="268"/>
                        </a:lnTo>
                        <a:lnTo>
                          <a:pt x="367" y="267"/>
                        </a:lnTo>
                        <a:lnTo>
                          <a:pt x="364" y="265"/>
                        </a:lnTo>
                        <a:lnTo>
                          <a:pt x="361" y="264"/>
                        </a:lnTo>
                        <a:lnTo>
                          <a:pt x="358" y="262"/>
                        </a:lnTo>
                        <a:lnTo>
                          <a:pt x="354" y="261"/>
                        </a:lnTo>
                        <a:lnTo>
                          <a:pt x="351" y="260"/>
                        </a:lnTo>
                        <a:lnTo>
                          <a:pt x="347" y="259"/>
                        </a:lnTo>
                        <a:lnTo>
                          <a:pt x="344" y="258"/>
                        </a:lnTo>
                        <a:lnTo>
                          <a:pt x="342" y="256"/>
                        </a:lnTo>
                        <a:lnTo>
                          <a:pt x="340" y="255"/>
                        </a:lnTo>
                        <a:lnTo>
                          <a:pt x="339" y="254"/>
                        </a:lnTo>
                        <a:lnTo>
                          <a:pt x="338" y="252"/>
                        </a:lnTo>
                        <a:lnTo>
                          <a:pt x="337" y="251"/>
                        </a:lnTo>
                        <a:lnTo>
                          <a:pt x="337" y="249"/>
                        </a:lnTo>
                        <a:lnTo>
                          <a:pt x="336" y="247"/>
                        </a:lnTo>
                        <a:lnTo>
                          <a:pt x="336" y="245"/>
                        </a:lnTo>
                        <a:lnTo>
                          <a:pt x="336" y="243"/>
                        </a:lnTo>
                        <a:lnTo>
                          <a:pt x="336" y="235"/>
                        </a:lnTo>
                        <a:lnTo>
                          <a:pt x="337" y="228"/>
                        </a:lnTo>
                        <a:lnTo>
                          <a:pt x="338" y="220"/>
                        </a:lnTo>
                        <a:lnTo>
                          <a:pt x="338" y="214"/>
                        </a:lnTo>
                        <a:lnTo>
                          <a:pt x="338" y="205"/>
                        </a:lnTo>
                        <a:lnTo>
                          <a:pt x="337" y="196"/>
                        </a:lnTo>
                        <a:lnTo>
                          <a:pt x="337" y="186"/>
                        </a:lnTo>
                        <a:lnTo>
                          <a:pt x="336" y="177"/>
                        </a:lnTo>
                        <a:lnTo>
                          <a:pt x="335" y="172"/>
                        </a:lnTo>
                        <a:lnTo>
                          <a:pt x="334" y="168"/>
                        </a:lnTo>
                        <a:lnTo>
                          <a:pt x="333" y="164"/>
                        </a:lnTo>
                        <a:lnTo>
                          <a:pt x="332" y="160"/>
                        </a:lnTo>
                        <a:lnTo>
                          <a:pt x="330" y="157"/>
                        </a:lnTo>
                        <a:lnTo>
                          <a:pt x="329" y="155"/>
                        </a:lnTo>
                        <a:lnTo>
                          <a:pt x="327" y="153"/>
                        </a:lnTo>
                        <a:lnTo>
                          <a:pt x="325" y="152"/>
                        </a:lnTo>
                        <a:lnTo>
                          <a:pt x="324" y="147"/>
                        </a:lnTo>
                        <a:lnTo>
                          <a:pt x="323" y="142"/>
                        </a:lnTo>
                        <a:lnTo>
                          <a:pt x="322" y="136"/>
                        </a:lnTo>
                        <a:lnTo>
                          <a:pt x="321" y="130"/>
                        </a:lnTo>
                        <a:lnTo>
                          <a:pt x="319" y="120"/>
                        </a:lnTo>
                        <a:lnTo>
                          <a:pt x="315" y="109"/>
                        </a:lnTo>
                        <a:lnTo>
                          <a:pt x="313" y="104"/>
                        </a:lnTo>
                        <a:lnTo>
                          <a:pt x="311" y="99"/>
                        </a:lnTo>
                        <a:lnTo>
                          <a:pt x="308" y="94"/>
                        </a:lnTo>
                        <a:lnTo>
                          <a:pt x="306" y="90"/>
                        </a:lnTo>
                        <a:lnTo>
                          <a:pt x="304" y="86"/>
                        </a:lnTo>
                        <a:lnTo>
                          <a:pt x="301" y="83"/>
                        </a:lnTo>
                        <a:lnTo>
                          <a:pt x="299" y="80"/>
                        </a:lnTo>
                        <a:lnTo>
                          <a:pt x="297" y="78"/>
                        </a:lnTo>
                        <a:lnTo>
                          <a:pt x="298" y="74"/>
                        </a:lnTo>
                        <a:lnTo>
                          <a:pt x="299" y="69"/>
                        </a:lnTo>
                        <a:lnTo>
                          <a:pt x="300" y="66"/>
                        </a:lnTo>
                        <a:lnTo>
                          <a:pt x="300" y="63"/>
                        </a:lnTo>
                        <a:lnTo>
                          <a:pt x="301" y="60"/>
                        </a:lnTo>
                        <a:lnTo>
                          <a:pt x="303" y="57"/>
                        </a:lnTo>
                        <a:lnTo>
                          <a:pt x="302" y="50"/>
                        </a:lnTo>
                        <a:lnTo>
                          <a:pt x="301" y="43"/>
                        </a:lnTo>
                        <a:lnTo>
                          <a:pt x="301" y="37"/>
                        </a:lnTo>
                        <a:lnTo>
                          <a:pt x="301" y="32"/>
                        </a:lnTo>
                        <a:lnTo>
                          <a:pt x="301" y="27"/>
                        </a:lnTo>
                        <a:lnTo>
                          <a:pt x="302" y="23"/>
                        </a:lnTo>
                        <a:lnTo>
                          <a:pt x="303" y="19"/>
                        </a:lnTo>
                        <a:lnTo>
                          <a:pt x="304" y="16"/>
                        </a:lnTo>
                        <a:lnTo>
                          <a:pt x="307" y="11"/>
                        </a:lnTo>
                        <a:lnTo>
                          <a:pt x="310" y="7"/>
                        </a:lnTo>
                        <a:lnTo>
                          <a:pt x="312" y="3"/>
                        </a:lnTo>
                        <a:lnTo>
                          <a:pt x="314" y="0"/>
                        </a:lnTo>
                        <a:lnTo>
                          <a:pt x="308" y="3"/>
                        </a:lnTo>
                        <a:lnTo>
                          <a:pt x="302" y="6"/>
                        </a:lnTo>
                        <a:lnTo>
                          <a:pt x="297" y="8"/>
                        </a:lnTo>
                        <a:lnTo>
                          <a:pt x="290" y="9"/>
                        </a:lnTo>
                        <a:lnTo>
                          <a:pt x="284" y="11"/>
                        </a:lnTo>
                        <a:lnTo>
                          <a:pt x="278" y="12"/>
                        </a:lnTo>
                        <a:lnTo>
                          <a:pt x="271" y="12"/>
                        </a:lnTo>
                        <a:lnTo>
                          <a:pt x="264" y="12"/>
                        </a:lnTo>
                        <a:lnTo>
                          <a:pt x="256" y="12"/>
                        </a:lnTo>
                        <a:lnTo>
                          <a:pt x="245" y="12"/>
                        </a:lnTo>
                        <a:lnTo>
                          <a:pt x="233" y="12"/>
                        </a:lnTo>
                        <a:lnTo>
                          <a:pt x="222" y="12"/>
                        </a:lnTo>
                        <a:lnTo>
                          <a:pt x="215" y="13"/>
                        </a:lnTo>
                        <a:lnTo>
                          <a:pt x="206" y="14"/>
                        </a:lnTo>
                        <a:lnTo>
                          <a:pt x="197" y="16"/>
                        </a:lnTo>
                        <a:lnTo>
                          <a:pt x="187" y="18"/>
                        </a:lnTo>
                        <a:lnTo>
                          <a:pt x="177" y="21"/>
                        </a:lnTo>
                        <a:lnTo>
                          <a:pt x="168" y="24"/>
                        </a:lnTo>
                        <a:lnTo>
                          <a:pt x="159" y="26"/>
                        </a:lnTo>
                        <a:lnTo>
                          <a:pt x="153" y="29"/>
                        </a:lnTo>
                        <a:lnTo>
                          <a:pt x="150" y="30"/>
                        </a:lnTo>
                        <a:lnTo>
                          <a:pt x="145" y="32"/>
                        </a:lnTo>
                        <a:lnTo>
                          <a:pt x="140" y="34"/>
                        </a:lnTo>
                        <a:lnTo>
                          <a:pt x="135" y="37"/>
                        </a:lnTo>
                        <a:lnTo>
                          <a:pt x="130" y="40"/>
                        </a:lnTo>
                        <a:lnTo>
                          <a:pt x="124" y="44"/>
                        </a:lnTo>
                        <a:lnTo>
                          <a:pt x="119" y="48"/>
                        </a:lnTo>
                        <a:lnTo>
                          <a:pt x="116" y="51"/>
                        </a:lnTo>
                        <a:lnTo>
                          <a:pt x="118" y="52"/>
                        </a:lnTo>
                        <a:lnTo>
                          <a:pt x="123" y="52"/>
                        </a:lnTo>
                        <a:lnTo>
                          <a:pt x="128" y="53"/>
                        </a:lnTo>
                        <a:lnTo>
                          <a:pt x="131" y="53"/>
                        </a:lnTo>
                        <a:lnTo>
                          <a:pt x="131" y="88"/>
                        </a:lnTo>
                        <a:lnTo>
                          <a:pt x="131" y="89"/>
                        </a:lnTo>
                        <a:lnTo>
                          <a:pt x="131" y="90"/>
                        </a:lnTo>
                        <a:lnTo>
                          <a:pt x="132" y="91"/>
                        </a:lnTo>
                        <a:lnTo>
                          <a:pt x="133" y="92"/>
                        </a:lnTo>
                        <a:lnTo>
                          <a:pt x="134" y="93"/>
                        </a:lnTo>
                        <a:lnTo>
                          <a:pt x="136" y="94"/>
                        </a:lnTo>
                        <a:lnTo>
                          <a:pt x="138" y="95"/>
                        </a:lnTo>
                        <a:lnTo>
                          <a:pt x="140" y="97"/>
                        </a:lnTo>
                        <a:lnTo>
                          <a:pt x="141" y="98"/>
                        </a:lnTo>
                        <a:lnTo>
                          <a:pt x="141" y="99"/>
                        </a:lnTo>
                        <a:lnTo>
                          <a:pt x="142" y="100"/>
                        </a:lnTo>
                        <a:lnTo>
                          <a:pt x="142" y="101"/>
                        </a:lnTo>
                        <a:lnTo>
                          <a:pt x="142" y="102"/>
                        </a:lnTo>
                        <a:lnTo>
                          <a:pt x="141" y="104"/>
                        </a:lnTo>
                        <a:lnTo>
                          <a:pt x="141" y="105"/>
                        </a:lnTo>
                        <a:lnTo>
                          <a:pt x="140" y="106"/>
                        </a:lnTo>
                        <a:lnTo>
                          <a:pt x="139" y="107"/>
                        </a:lnTo>
                        <a:lnTo>
                          <a:pt x="138" y="107"/>
                        </a:lnTo>
                        <a:lnTo>
                          <a:pt x="136" y="107"/>
                        </a:lnTo>
                        <a:lnTo>
                          <a:pt x="135" y="108"/>
                        </a:lnTo>
                        <a:lnTo>
                          <a:pt x="128" y="107"/>
                        </a:lnTo>
                        <a:lnTo>
                          <a:pt x="120" y="107"/>
                        </a:lnTo>
                        <a:lnTo>
                          <a:pt x="116" y="108"/>
                        </a:lnTo>
                        <a:lnTo>
                          <a:pt x="112" y="111"/>
                        </a:lnTo>
                        <a:lnTo>
                          <a:pt x="106" y="113"/>
                        </a:lnTo>
                        <a:lnTo>
                          <a:pt x="101" y="116"/>
                        </a:lnTo>
                        <a:lnTo>
                          <a:pt x="99" y="118"/>
                        </a:lnTo>
                        <a:lnTo>
                          <a:pt x="97" y="120"/>
                        </a:lnTo>
                        <a:lnTo>
                          <a:pt x="95" y="122"/>
                        </a:lnTo>
                        <a:lnTo>
                          <a:pt x="93" y="124"/>
                        </a:lnTo>
                        <a:lnTo>
                          <a:pt x="92" y="126"/>
                        </a:lnTo>
                        <a:lnTo>
                          <a:pt x="91" y="128"/>
                        </a:lnTo>
                        <a:lnTo>
                          <a:pt x="90" y="131"/>
                        </a:lnTo>
                        <a:lnTo>
                          <a:pt x="90" y="133"/>
                        </a:lnTo>
                        <a:lnTo>
                          <a:pt x="87" y="134"/>
                        </a:lnTo>
                        <a:lnTo>
                          <a:pt x="84" y="135"/>
                        </a:lnTo>
                        <a:lnTo>
                          <a:pt x="82" y="137"/>
                        </a:lnTo>
                        <a:lnTo>
                          <a:pt x="79" y="139"/>
                        </a:lnTo>
                        <a:lnTo>
                          <a:pt x="74" y="143"/>
                        </a:lnTo>
                        <a:lnTo>
                          <a:pt x="69" y="148"/>
                        </a:lnTo>
                        <a:lnTo>
                          <a:pt x="66" y="150"/>
                        </a:lnTo>
                        <a:lnTo>
                          <a:pt x="62" y="152"/>
                        </a:lnTo>
                        <a:lnTo>
                          <a:pt x="59" y="155"/>
                        </a:lnTo>
                        <a:lnTo>
                          <a:pt x="55" y="156"/>
                        </a:lnTo>
                        <a:lnTo>
                          <a:pt x="51" y="158"/>
                        </a:lnTo>
                        <a:lnTo>
                          <a:pt x="46" y="159"/>
                        </a:lnTo>
                        <a:lnTo>
                          <a:pt x="41" y="160"/>
                        </a:lnTo>
                        <a:lnTo>
                          <a:pt x="35" y="160"/>
                        </a:lnTo>
                        <a:lnTo>
                          <a:pt x="31" y="160"/>
                        </a:lnTo>
                        <a:lnTo>
                          <a:pt x="29" y="161"/>
                        </a:lnTo>
                        <a:lnTo>
                          <a:pt x="26" y="161"/>
                        </a:lnTo>
                        <a:lnTo>
                          <a:pt x="24" y="162"/>
                        </a:lnTo>
                        <a:lnTo>
                          <a:pt x="20" y="164"/>
                        </a:lnTo>
                        <a:lnTo>
                          <a:pt x="17" y="167"/>
                        </a:lnTo>
                        <a:lnTo>
                          <a:pt x="13" y="169"/>
                        </a:lnTo>
                        <a:lnTo>
                          <a:pt x="10" y="172"/>
                        </a:lnTo>
                        <a:lnTo>
                          <a:pt x="8" y="174"/>
                        </a:lnTo>
                        <a:lnTo>
                          <a:pt x="6" y="175"/>
                        </a:lnTo>
                        <a:lnTo>
                          <a:pt x="3" y="176"/>
                        </a:lnTo>
                        <a:lnTo>
                          <a:pt x="0" y="177"/>
                        </a:lnTo>
                        <a:lnTo>
                          <a:pt x="0" y="200"/>
                        </a:lnTo>
                        <a:lnTo>
                          <a:pt x="0" y="208"/>
                        </a:lnTo>
                        <a:lnTo>
                          <a:pt x="69" y="253"/>
                        </a:lnTo>
                        <a:lnTo>
                          <a:pt x="170" y="323"/>
                        </a:lnTo>
                        <a:lnTo>
                          <a:pt x="179" y="331"/>
                        </a:lnTo>
                        <a:lnTo>
                          <a:pt x="185" y="341"/>
                        </a:lnTo>
                        <a:lnTo>
                          <a:pt x="189" y="344"/>
                        </a:lnTo>
                        <a:lnTo>
                          <a:pt x="194" y="347"/>
                        </a:lnTo>
                        <a:lnTo>
                          <a:pt x="201" y="352"/>
                        </a:lnTo>
                        <a:lnTo>
                          <a:pt x="210" y="357"/>
                        </a:lnTo>
                        <a:lnTo>
                          <a:pt x="218" y="362"/>
                        </a:lnTo>
                        <a:lnTo>
                          <a:pt x="226" y="366"/>
                        </a:lnTo>
                        <a:lnTo>
                          <a:pt x="229" y="368"/>
                        </a:lnTo>
                        <a:lnTo>
                          <a:pt x="232" y="369"/>
                        </a:lnTo>
                        <a:lnTo>
                          <a:pt x="234" y="370"/>
                        </a:lnTo>
                        <a:lnTo>
                          <a:pt x="235" y="37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4" name="Freeform 238"/>
                  <p:cNvSpPr>
                    <a:spLocks/>
                  </p:cNvSpPr>
                  <p:nvPr>
                    <p:custDataLst>
                      <p:tags r:id="rId7"/>
                    </p:custDataLst>
                  </p:nvPr>
                </p:nvSpPr>
                <p:spPr bwMode="auto">
                  <a:xfrm>
                    <a:off x="4290633" y="1083535"/>
                    <a:ext cx="1217594" cy="1031319"/>
                  </a:xfrm>
                  <a:custGeom>
                    <a:avLst/>
                    <a:gdLst>
                      <a:gd name="T0" fmla="*/ 50084 w 877"/>
                      <a:gd name="T1" fmla="*/ 176056 h 826"/>
                      <a:gd name="T2" fmla="*/ 63997 w 877"/>
                      <a:gd name="T3" fmla="*/ 136100 h 826"/>
                      <a:gd name="T4" fmla="*/ 63997 w 877"/>
                      <a:gd name="T5" fmla="*/ 87404 h 826"/>
                      <a:gd name="T6" fmla="*/ 84865 w 877"/>
                      <a:gd name="T7" fmla="*/ 79912 h 826"/>
                      <a:gd name="T8" fmla="*/ 123820 w 877"/>
                      <a:gd name="T9" fmla="*/ 68674 h 826"/>
                      <a:gd name="T10" fmla="*/ 137732 w 877"/>
                      <a:gd name="T11" fmla="*/ 24972 h 826"/>
                      <a:gd name="T12" fmla="*/ 233727 w 877"/>
                      <a:gd name="T13" fmla="*/ 7492 h 826"/>
                      <a:gd name="T14" fmla="*/ 336679 w 877"/>
                      <a:gd name="T15" fmla="*/ 29967 h 826"/>
                      <a:gd name="T16" fmla="*/ 379807 w 877"/>
                      <a:gd name="T17" fmla="*/ 53691 h 826"/>
                      <a:gd name="T18" fmla="*/ 396502 w 877"/>
                      <a:gd name="T19" fmla="*/ 97393 h 826"/>
                      <a:gd name="T20" fmla="*/ 410414 w 877"/>
                      <a:gd name="T21" fmla="*/ 126111 h 826"/>
                      <a:gd name="T22" fmla="*/ 452151 w 877"/>
                      <a:gd name="T23" fmla="*/ 137349 h 826"/>
                      <a:gd name="T24" fmla="*/ 505018 w 877"/>
                      <a:gd name="T25" fmla="*/ 136100 h 826"/>
                      <a:gd name="T26" fmla="*/ 585710 w 877"/>
                      <a:gd name="T27" fmla="*/ 166067 h 826"/>
                      <a:gd name="T28" fmla="*/ 665010 w 877"/>
                      <a:gd name="T29" fmla="*/ 202277 h 826"/>
                      <a:gd name="T30" fmla="*/ 713704 w 877"/>
                      <a:gd name="T31" fmla="*/ 207272 h 826"/>
                      <a:gd name="T32" fmla="*/ 748485 w 877"/>
                      <a:gd name="T33" fmla="*/ 197283 h 826"/>
                      <a:gd name="T34" fmla="*/ 763788 w 877"/>
                      <a:gd name="T35" fmla="*/ 157327 h 826"/>
                      <a:gd name="T36" fmla="*/ 756832 w 877"/>
                      <a:gd name="T37" fmla="*/ 128608 h 826"/>
                      <a:gd name="T38" fmla="*/ 738746 w 877"/>
                      <a:gd name="T39" fmla="*/ 101139 h 826"/>
                      <a:gd name="T40" fmla="*/ 749876 w 877"/>
                      <a:gd name="T41" fmla="*/ 61183 h 826"/>
                      <a:gd name="T42" fmla="*/ 798569 w 877"/>
                      <a:gd name="T43" fmla="*/ 42453 h 826"/>
                      <a:gd name="T44" fmla="*/ 858392 w 877"/>
                      <a:gd name="T45" fmla="*/ 4994 h 826"/>
                      <a:gd name="T46" fmla="*/ 904303 w 877"/>
                      <a:gd name="T47" fmla="*/ 0 h 826"/>
                      <a:gd name="T48" fmla="*/ 947431 w 877"/>
                      <a:gd name="T49" fmla="*/ 7492 h 826"/>
                      <a:gd name="T50" fmla="*/ 966908 w 877"/>
                      <a:gd name="T51" fmla="*/ 29967 h 826"/>
                      <a:gd name="T52" fmla="*/ 982212 w 877"/>
                      <a:gd name="T53" fmla="*/ 62431 h 826"/>
                      <a:gd name="T54" fmla="*/ 1012819 w 877"/>
                      <a:gd name="T55" fmla="*/ 78663 h 826"/>
                      <a:gd name="T56" fmla="*/ 1110205 w 877"/>
                      <a:gd name="T57" fmla="*/ 88652 h 826"/>
                      <a:gd name="T58" fmla="*/ 1154725 w 877"/>
                      <a:gd name="T59" fmla="*/ 121116 h 826"/>
                      <a:gd name="T60" fmla="*/ 1160290 w 877"/>
                      <a:gd name="T61" fmla="*/ 146089 h 826"/>
                      <a:gd name="T62" fmla="*/ 1172811 w 877"/>
                      <a:gd name="T63" fmla="*/ 174807 h 826"/>
                      <a:gd name="T64" fmla="*/ 1163072 w 877"/>
                      <a:gd name="T65" fmla="*/ 198531 h 826"/>
                      <a:gd name="T66" fmla="*/ 1146378 w 877"/>
                      <a:gd name="T67" fmla="*/ 212266 h 826"/>
                      <a:gd name="T68" fmla="*/ 1153334 w 877"/>
                      <a:gd name="T69" fmla="*/ 258465 h 826"/>
                      <a:gd name="T70" fmla="*/ 1193680 w 877"/>
                      <a:gd name="T71" fmla="*/ 305913 h 826"/>
                      <a:gd name="T72" fmla="*/ 1218722 w 877"/>
                      <a:gd name="T73" fmla="*/ 857804 h 826"/>
                      <a:gd name="T74" fmla="*/ 1220113 w 877"/>
                      <a:gd name="T75" fmla="*/ 925230 h 826"/>
                      <a:gd name="T76" fmla="*/ 1210374 w 877"/>
                      <a:gd name="T77" fmla="*/ 967683 h 826"/>
                      <a:gd name="T78" fmla="*/ 1179767 w 877"/>
                      <a:gd name="T79" fmla="*/ 977672 h 826"/>
                      <a:gd name="T80" fmla="*/ 1154725 w 877"/>
                      <a:gd name="T81" fmla="*/ 1003893 h 826"/>
                      <a:gd name="T82" fmla="*/ 509192 w 877"/>
                      <a:gd name="T83" fmla="*/ 740434 h 826"/>
                      <a:gd name="T84" fmla="*/ 460499 w 877"/>
                      <a:gd name="T85" fmla="*/ 757915 h 826"/>
                      <a:gd name="T86" fmla="*/ 406241 w 877"/>
                      <a:gd name="T87" fmla="*/ 781638 h 826"/>
                      <a:gd name="T88" fmla="*/ 365895 w 877"/>
                      <a:gd name="T89" fmla="*/ 782887 h 826"/>
                      <a:gd name="T90" fmla="*/ 319984 w 877"/>
                      <a:gd name="T91" fmla="*/ 760412 h 826"/>
                      <a:gd name="T92" fmla="*/ 268508 w 877"/>
                      <a:gd name="T93" fmla="*/ 731693 h 826"/>
                      <a:gd name="T94" fmla="*/ 211468 w 877"/>
                      <a:gd name="T95" fmla="*/ 721704 h 826"/>
                      <a:gd name="T96" fmla="*/ 191990 w 877"/>
                      <a:gd name="T97" fmla="*/ 720456 h 826"/>
                      <a:gd name="T98" fmla="*/ 180861 w 877"/>
                      <a:gd name="T99" fmla="*/ 690489 h 826"/>
                      <a:gd name="T100" fmla="*/ 151645 w 877"/>
                      <a:gd name="T101" fmla="*/ 668014 h 826"/>
                      <a:gd name="T102" fmla="*/ 87648 w 877"/>
                      <a:gd name="T103" fmla="*/ 645538 h 826"/>
                      <a:gd name="T104" fmla="*/ 38955 w 877"/>
                      <a:gd name="T105" fmla="*/ 623063 h 826"/>
                      <a:gd name="T106" fmla="*/ 22260 w 877"/>
                      <a:gd name="T107" fmla="*/ 601836 h 826"/>
                      <a:gd name="T108" fmla="*/ 19477 w 877"/>
                      <a:gd name="T109" fmla="*/ 548146 h 826"/>
                      <a:gd name="T110" fmla="*/ 26433 w 877"/>
                      <a:gd name="T111" fmla="*/ 439515 h 826"/>
                      <a:gd name="T112" fmla="*/ 23651 w 877"/>
                      <a:gd name="T113" fmla="*/ 322145 h 826"/>
                      <a:gd name="T114" fmla="*/ 5565 w 877"/>
                      <a:gd name="T115" fmla="*/ 252222 h 82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877"/>
                      <a:gd name="T175" fmla="*/ 0 h 826"/>
                      <a:gd name="T176" fmla="*/ 877 w 877"/>
                      <a:gd name="T177" fmla="*/ 826 h 826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877" h="826">
                        <a:moveTo>
                          <a:pt x="0" y="190"/>
                        </a:moveTo>
                        <a:lnTo>
                          <a:pt x="16" y="167"/>
                        </a:lnTo>
                        <a:lnTo>
                          <a:pt x="33" y="147"/>
                        </a:lnTo>
                        <a:lnTo>
                          <a:pt x="36" y="141"/>
                        </a:lnTo>
                        <a:lnTo>
                          <a:pt x="39" y="133"/>
                        </a:lnTo>
                        <a:lnTo>
                          <a:pt x="41" y="126"/>
                        </a:lnTo>
                        <a:lnTo>
                          <a:pt x="43" y="118"/>
                        </a:lnTo>
                        <a:lnTo>
                          <a:pt x="46" y="109"/>
                        </a:lnTo>
                        <a:lnTo>
                          <a:pt x="47" y="99"/>
                        </a:lnTo>
                        <a:lnTo>
                          <a:pt x="47" y="87"/>
                        </a:lnTo>
                        <a:lnTo>
                          <a:pt x="46" y="73"/>
                        </a:lnTo>
                        <a:lnTo>
                          <a:pt x="46" y="70"/>
                        </a:lnTo>
                        <a:lnTo>
                          <a:pt x="47" y="67"/>
                        </a:lnTo>
                        <a:lnTo>
                          <a:pt x="49" y="66"/>
                        </a:lnTo>
                        <a:lnTo>
                          <a:pt x="52" y="65"/>
                        </a:lnTo>
                        <a:lnTo>
                          <a:pt x="61" y="64"/>
                        </a:lnTo>
                        <a:lnTo>
                          <a:pt x="72" y="63"/>
                        </a:lnTo>
                        <a:lnTo>
                          <a:pt x="78" y="61"/>
                        </a:lnTo>
                        <a:lnTo>
                          <a:pt x="83" y="59"/>
                        </a:lnTo>
                        <a:lnTo>
                          <a:pt x="89" y="55"/>
                        </a:lnTo>
                        <a:lnTo>
                          <a:pt x="93" y="50"/>
                        </a:lnTo>
                        <a:lnTo>
                          <a:pt x="96" y="42"/>
                        </a:lnTo>
                        <a:lnTo>
                          <a:pt x="98" y="33"/>
                        </a:lnTo>
                        <a:lnTo>
                          <a:pt x="99" y="20"/>
                        </a:lnTo>
                        <a:lnTo>
                          <a:pt x="98" y="6"/>
                        </a:lnTo>
                        <a:lnTo>
                          <a:pt x="124" y="4"/>
                        </a:lnTo>
                        <a:lnTo>
                          <a:pt x="147" y="5"/>
                        </a:lnTo>
                        <a:lnTo>
                          <a:pt x="168" y="6"/>
                        </a:lnTo>
                        <a:lnTo>
                          <a:pt x="188" y="9"/>
                        </a:lnTo>
                        <a:lnTo>
                          <a:pt x="208" y="13"/>
                        </a:lnTo>
                        <a:lnTo>
                          <a:pt x="226" y="18"/>
                        </a:lnTo>
                        <a:lnTo>
                          <a:pt x="242" y="24"/>
                        </a:lnTo>
                        <a:lnTo>
                          <a:pt x="259" y="31"/>
                        </a:lnTo>
                        <a:lnTo>
                          <a:pt x="264" y="35"/>
                        </a:lnTo>
                        <a:lnTo>
                          <a:pt x="269" y="39"/>
                        </a:lnTo>
                        <a:lnTo>
                          <a:pt x="273" y="43"/>
                        </a:lnTo>
                        <a:lnTo>
                          <a:pt x="276" y="47"/>
                        </a:lnTo>
                        <a:lnTo>
                          <a:pt x="281" y="57"/>
                        </a:lnTo>
                        <a:lnTo>
                          <a:pt x="283" y="67"/>
                        </a:lnTo>
                        <a:lnTo>
                          <a:pt x="285" y="78"/>
                        </a:lnTo>
                        <a:lnTo>
                          <a:pt x="288" y="88"/>
                        </a:lnTo>
                        <a:lnTo>
                          <a:pt x="289" y="93"/>
                        </a:lnTo>
                        <a:lnTo>
                          <a:pt x="292" y="97"/>
                        </a:lnTo>
                        <a:lnTo>
                          <a:pt x="295" y="101"/>
                        </a:lnTo>
                        <a:lnTo>
                          <a:pt x="298" y="105"/>
                        </a:lnTo>
                        <a:lnTo>
                          <a:pt x="306" y="108"/>
                        </a:lnTo>
                        <a:lnTo>
                          <a:pt x="315" y="110"/>
                        </a:lnTo>
                        <a:lnTo>
                          <a:pt x="325" y="110"/>
                        </a:lnTo>
                        <a:lnTo>
                          <a:pt x="334" y="110"/>
                        </a:lnTo>
                        <a:lnTo>
                          <a:pt x="344" y="109"/>
                        </a:lnTo>
                        <a:lnTo>
                          <a:pt x="354" y="109"/>
                        </a:lnTo>
                        <a:lnTo>
                          <a:pt x="363" y="109"/>
                        </a:lnTo>
                        <a:lnTo>
                          <a:pt x="372" y="111"/>
                        </a:lnTo>
                        <a:lnTo>
                          <a:pt x="388" y="117"/>
                        </a:lnTo>
                        <a:lnTo>
                          <a:pt x="405" y="124"/>
                        </a:lnTo>
                        <a:lnTo>
                          <a:pt x="421" y="133"/>
                        </a:lnTo>
                        <a:lnTo>
                          <a:pt x="438" y="143"/>
                        </a:lnTo>
                        <a:lnTo>
                          <a:pt x="454" y="152"/>
                        </a:lnTo>
                        <a:lnTo>
                          <a:pt x="471" y="159"/>
                        </a:lnTo>
                        <a:lnTo>
                          <a:pt x="478" y="162"/>
                        </a:lnTo>
                        <a:lnTo>
                          <a:pt x="487" y="164"/>
                        </a:lnTo>
                        <a:lnTo>
                          <a:pt x="496" y="166"/>
                        </a:lnTo>
                        <a:lnTo>
                          <a:pt x="505" y="166"/>
                        </a:lnTo>
                        <a:lnTo>
                          <a:pt x="513" y="166"/>
                        </a:lnTo>
                        <a:lnTo>
                          <a:pt x="521" y="166"/>
                        </a:lnTo>
                        <a:lnTo>
                          <a:pt x="529" y="166"/>
                        </a:lnTo>
                        <a:lnTo>
                          <a:pt x="538" y="166"/>
                        </a:lnTo>
                        <a:lnTo>
                          <a:pt x="538" y="158"/>
                        </a:lnTo>
                        <a:lnTo>
                          <a:pt x="540" y="150"/>
                        </a:lnTo>
                        <a:lnTo>
                          <a:pt x="542" y="143"/>
                        </a:lnTo>
                        <a:lnTo>
                          <a:pt x="544" y="137"/>
                        </a:lnTo>
                        <a:lnTo>
                          <a:pt x="549" y="126"/>
                        </a:lnTo>
                        <a:lnTo>
                          <a:pt x="551" y="117"/>
                        </a:lnTo>
                        <a:lnTo>
                          <a:pt x="550" y="112"/>
                        </a:lnTo>
                        <a:lnTo>
                          <a:pt x="547" y="108"/>
                        </a:lnTo>
                        <a:lnTo>
                          <a:pt x="544" y="103"/>
                        </a:lnTo>
                        <a:lnTo>
                          <a:pt x="541" y="98"/>
                        </a:lnTo>
                        <a:lnTo>
                          <a:pt x="537" y="93"/>
                        </a:lnTo>
                        <a:lnTo>
                          <a:pt x="534" y="87"/>
                        </a:lnTo>
                        <a:lnTo>
                          <a:pt x="531" y="81"/>
                        </a:lnTo>
                        <a:lnTo>
                          <a:pt x="531" y="73"/>
                        </a:lnTo>
                        <a:lnTo>
                          <a:pt x="531" y="61"/>
                        </a:lnTo>
                        <a:lnTo>
                          <a:pt x="531" y="49"/>
                        </a:lnTo>
                        <a:lnTo>
                          <a:pt x="539" y="49"/>
                        </a:lnTo>
                        <a:lnTo>
                          <a:pt x="547" y="47"/>
                        </a:lnTo>
                        <a:lnTo>
                          <a:pt x="554" y="45"/>
                        </a:lnTo>
                        <a:lnTo>
                          <a:pt x="562" y="42"/>
                        </a:lnTo>
                        <a:lnTo>
                          <a:pt x="574" y="34"/>
                        </a:lnTo>
                        <a:lnTo>
                          <a:pt x="586" y="24"/>
                        </a:lnTo>
                        <a:lnTo>
                          <a:pt x="598" y="15"/>
                        </a:lnTo>
                        <a:lnTo>
                          <a:pt x="610" y="7"/>
                        </a:lnTo>
                        <a:lnTo>
                          <a:pt x="617" y="4"/>
                        </a:lnTo>
                        <a:lnTo>
                          <a:pt x="623" y="2"/>
                        </a:lnTo>
                        <a:lnTo>
                          <a:pt x="630" y="0"/>
                        </a:lnTo>
                        <a:lnTo>
                          <a:pt x="638" y="0"/>
                        </a:lnTo>
                        <a:lnTo>
                          <a:pt x="650" y="0"/>
                        </a:lnTo>
                        <a:lnTo>
                          <a:pt x="659" y="1"/>
                        </a:lnTo>
                        <a:lnTo>
                          <a:pt x="668" y="2"/>
                        </a:lnTo>
                        <a:lnTo>
                          <a:pt x="676" y="4"/>
                        </a:lnTo>
                        <a:lnTo>
                          <a:pt x="681" y="6"/>
                        </a:lnTo>
                        <a:lnTo>
                          <a:pt x="685" y="9"/>
                        </a:lnTo>
                        <a:lnTo>
                          <a:pt x="688" y="12"/>
                        </a:lnTo>
                        <a:lnTo>
                          <a:pt x="691" y="16"/>
                        </a:lnTo>
                        <a:lnTo>
                          <a:pt x="695" y="24"/>
                        </a:lnTo>
                        <a:lnTo>
                          <a:pt x="698" y="34"/>
                        </a:lnTo>
                        <a:lnTo>
                          <a:pt x="700" y="39"/>
                        </a:lnTo>
                        <a:lnTo>
                          <a:pt x="702" y="44"/>
                        </a:lnTo>
                        <a:lnTo>
                          <a:pt x="706" y="50"/>
                        </a:lnTo>
                        <a:lnTo>
                          <a:pt x="710" y="55"/>
                        </a:lnTo>
                        <a:lnTo>
                          <a:pt x="715" y="58"/>
                        </a:lnTo>
                        <a:lnTo>
                          <a:pt x="721" y="61"/>
                        </a:lnTo>
                        <a:lnTo>
                          <a:pt x="728" y="63"/>
                        </a:lnTo>
                        <a:lnTo>
                          <a:pt x="734" y="65"/>
                        </a:lnTo>
                        <a:lnTo>
                          <a:pt x="750" y="67"/>
                        </a:lnTo>
                        <a:lnTo>
                          <a:pt x="765" y="69"/>
                        </a:lnTo>
                        <a:lnTo>
                          <a:pt x="798" y="71"/>
                        </a:lnTo>
                        <a:lnTo>
                          <a:pt x="830" y="73"/>
                        </a:lnTo>
                        <a:lnTo>
                          <a:pt x="830" y="83"/>
                        </a:lnTo>
                        <a:lnTo>
                          <a:pt x="830" y="90"/>
                        </a:lnTo>
                        <a:lnTo>
                          <a:pt x="830" y="97"/>
                        </a:lnTo>
                        <a:lnTo>
                          <a:pt x="830" y="105"/>
                        </a:lnTo>
                        <a:lnTo>
                          <a:pt x="830" y="109"/>
                        </a:lnTo>
                        <a:lnTo>
                          <a:pt x="832" y="113"/>
                        </a:lnTo>
                        <a:lnTo>
                          <a:pt x="834" y="117"/>
                        </a:lnTo>
                        <a:lnTo>
                          <a:pt x="836" y="121"/>
                        </a:lnTo>
                        <a:lnTo>
                          <a:pt x="838" y="126"/>
                        </a:lnTo>
                        <a:lnTo>
                          <a:pt x="841" y="132"/>
                        </a:lnTo>
                        <a:lnTo>
                          <a:pt x="843" y="140"/>
                        </a:lnTo>
                        <a:lnTo>
                          <a:pt x="843" y="148"/>
                        </a:lnTo>
                        <a:lnTo>
                          <a:pt x="842" y="152"/>
                        </a:lnTo>
                        <a:lnTo>
                          <a:pt x="840" y="156"/>
                        </a:lnTo>
                        <a:lnTo>
                          <a:pt x="836" y="159"/>
                        </a:lnTo>
                        <a:lnTo>
                          <a:pt x="833" y="162"/>
                        </a:lnTo>
                        <a:lnTo>
                          <a:pt x="830" y="165"/>
                        </a:lnTo>
                        <a:lnTo>
                          <a:pt x="826" y="168"/>
                        </a:lnTo>
                        <a:lnTo>
                          <a:pt x="824" y="170"/>
                        </a:lnTo>
                        <a:lnTo>
                          <a:pt x="823" y="172"/>
                        </a:lnTo>
                        <a:lnTo>
                          <a:pt x="824" y="184"/>
                        </a:lnTo>
                        <a:lnTo>
                          <a:pt x="825" y="196"/>
                        </a:lnTo>
                        <a:lnTo>
                          <a:pt x="829" y="207"/>
                        </a:lnTo>
                        <a:lnTo>
                          <a:pt x="834" y="217"/>
                        </a:lnTo>
                        <a:lnTo>
                          <a:pt x="841" y="227"/>
                        </a:lnTo>
                        <a:lnTo>
                          <a:pt x="848" y="236"/>
                        </a:lnTo>
                        <a:lnTo>
                          <a:pt x="858" y="245"/>
                        </a:lnTo>
                        <a:lnTo>
                          <a:pt x="869" y="253"/>
                        </a:lnTo>
                        <a:lnTo>
                          <a:pt x="876" y="671"/>
                        </a:lnTo>
                        <a:lnTo>
                          <a:pt x="876" y="680"/>
                        </a:lnTo>
                        <a:lnTo>
                          <a:pt x="876" y="687"/>
                        </a:lnTo>
                        <a:lnTo>
                          <a:pt x="876" y="697"/>
                        </a:lnTo>
                        <a:lnTo>
                          <a:pt x="876" y="709"/>
                        </a:lnTo>
                        <a:lnTo>
                          <a:pt x="877" y="726"/>
                        </a:lnTo>
                        <a:lnTo>
                          <a:pt x="877" y="741"/>
                        </a:lnTo>
                        <a:lnTo>
                          <a:pt x="877" y="756"/>
                        </a:lnTo>
                        <a:lnTo>
                          <a:pt x="876" y="766"/>
                        </a:lnTo>
                        <a:lnTo>
                          <a:pt x="874" y="771"/>
                        </a:lnTo>
                        <a:lnTo>
                          <a:pt x="870" y="775"/>
                        </a:lnTo>
                        <a:lnTo>
                          <a:pt x="867" y="778"/>
                        </a:lnTo>
                        <a:lnTo>
                          <a:pt x="863" y="780"/>
                        </a:lnTo>
                        <a:lnTo>
                          <a:pt x="856" y="782"/>
                        </a:lnTo>
                        <a:lnTo>
                          <a:pt x="848" y="783"/>
                        </a:lnTo>
                        <a:lnTo>
                          <a:pt x="840" y="783"/>
                        </a:lnTo>
                        <a:lnTo>
                          <a:pt x="830" y="782"/>
                        </a:lnTo>
                        <a:lnTo>
                          <a:pt x="830" y="792"/>
                        </a:lnTo>
                        <a:lnTo>
                          <a:pt x="830" y="804"/>
                        </a:lnTo>
                        <a:lnTo>
                          <a:pt x="830" y="816"/>
                        </a:lnTo>
                        <a:lnTo>
                          <a:pt x="830" y="826"/>
                        </a:lnTo>
                        <a:lnTo>
                          <a:pt x="378" y="592"/>
                        </a:lnTo>
                        <a:lnTo>
                          <a:pt x="366" y="593"/>
                        </a:lnTo>
                        <a:lnTo>
                          <a:pt x="359" y="595"/>
                        </a:lnTo>
                        <a:lnTo>
                          <a:pt x="353" y="597"/>
                        </a:lnTo>
                        <a:lnTo>
                          <a:pt x="344" y="598"/>
                        </a:lnTo>
                        <a:lnTo>
                          <a:pt x="331" y="607"/>
                        </a:lnTo>
                        <a:lnTo>
                          <a:pt x="318" y="616"/>
                        </a:lnTo>
                        <a:lnTo>
                          <a:pt x="308" y="620"/>
                        </a:lnTo>
                        <a:lnTo>
                          <a:pt x="297" y="624"/>
                        </a:lnTo>
                        <a:lnTo>
                          <a:pt x="292" y="626"/>
                        </a:lnTo>
                        <a:lnTo>
                          <a:pt x="285" y="627"/>
                        </a:lnTo>
                        <a:lnTo>
                          <a:pt x="278" y="628"/>
                        </a:lnTo>
                        <a:lnTo>
                          <a:pt x="272" y="628"/>
                        </a:lnTo>
                        <a:lnTo>
                          <a:pt x="263" y="627"/>
                        </a:lnTo>
                        <a:lnTo>
                          <a:pt x="254" y="624"/>
                        </a:lnTo>
                        <a:lnTo>
                          <a:pt x="246" y="620"/>
                        </a:lnTo>
                        <a:lnTo>
                          <a:pt x="238" y="614"/>
                        </a:lnTo>
                        <a:lnTo>
                          <a:pt x="230" y="609"/>
                        </a:lnTo>
                        <a:lnTo>
                          <a:pt x="224" y="602"/>
                        </a:lnTo>
                        <a:lnTo>
                          <a:pt x="220" y="597"/>
                        </a:lnTo>
                        <a:lnTo>
                          <a:pt x="218" y="592"/>
                        </a:lnTo>
                        <a:lnTo>
                          <a:pt x="193" y="586"/>
                        </a:lnTo>
                        <a:lnTo>
                          <a:pt x="173" y="579"/>
                        </a:lnTo>
                        <a:lnTo>
                          <a:pt x="165" y="577"/>
                        </a:lnTo>
                        <a:lnTo>
                          <a:pt x="157" y="577"/>
                        </a:lnTo>
                        <a:lnTo>
                          <a:pt x="152" y="578"/>
                        </a:lnTo>
                        <a:lnTo>
                          <a:pt x="148" y="579"/>
                        </a:lnTo>
                        <a:lnTo>
                          <a:pt x="143" y="583"/>
                        </a:lnTo>
                        <a:lnTo>
                          <a:pt x="139" y="586"/>
                        </a:lnTo>
                        <a:lnTo>
                          <a:pt x="138" y="577"/>
                        </a:lnTo>
                        <a:lnTo>
                          <a:pt x="137" y="570"/>
                        </a:lnTo>
                        <a:lnTo>
                          <a:pt x="136" y="564"/>
                        </a:lnTo>
                        <a:lnTo>
                          <a:pt x="134" y="558"/>
                        </a:lnTo>
                        <a:lnTo>
                          <a:pt x="130" y="553"/>
                        </a:lnTo>
                        <a:lnTo>
                          <a:pt x="127" y="549"/>
                        </a:lnTo>
                        <a:lnTo>
                          <a:pt x="124" y="545"/>
                        </a:lnTo>
                        <a:lnTo>
                          <a:pt x="119" y="541"/>
                        </a:lnTo>
                        <a:lnTo>
                          <a:pt x="109" y="535"/>
                        </a:lnTo>
                        <a:lnTo>
                          <a:pt x="98" y="530"/>
                        </a:lnTo>
                        <a:lnTo>
                          <a:pt x="87" y="526"/>
                        </a:lnTo>
                        <a:lnTo>
                          <a:pt x="75" y="521"/>
                        </a:lnTo>
                        <a:lnTo>
                          <a:pt x="63" y="517"/>
                        </a:lnTo>
                        <a:lnTo>
                          <a:pt x="52" y="513"/>
                        </a:lnTo>
                        <a:lnTo>
                          <a:pt x="41" y="509"/>
                        </a:lnTo>
                        <a:lnTo>
                          <a:pt x="33" y="503"/>
                        </a:lnTo>
                        <a:lnTo>
                          <a:pt x="28" y="499"/>
                        </a:lnTo>
                        <a:lnTo>
                          <a:pt x="24" y="496"/>
                        </a:lnTo>
                        <a:lnTo>
                          <a:pt x="20" y="492"/>
                        </a:lnTo>
                        <a:lnTo>
                          <a:pt x="18" y="487"/>
                        </a:lnTo>
                        <a:lnTo>
                          <a:pt x="16" y="482"/>
                        </a:lnTo>
                        <a:lnTo>
                          <a:pt x="14" y="476"/>
                        </a:lnTo>
                        <a:lnTo>
                          <a:pt x="13" y="469"/>
                        </a:lnTo>
                        <a:lnTo>
                          <a:pt x="13" y="462"/>
                        </a:lnTo>
                        <a:lnTo>
                          <a:pt x="14" y="439"/>
                        </a:lnTo>
                        <a:lnTo>
                          <a:pt x="16" y="417"/>
                        </a:lnTo>
                        <a:lnTo>
                          <a:pt x="18" y="395"/>
                        </a:lnTo>
                        <a:lnTo>
                          <a:pt x="19" y="376"/>
                        </a:lnTo>
                        <a:lnTo>
                          <a:pt x="19" y="352"/>
                        </a:lnTo>
                        <a:lnTo>
                          <a:pt x="19" y="329"/>
                        </a:lnTo>
                        <a:lnTo>
                          <a:pt x="19" y="305"/>
                        </a:lnTo>
                        <a:lnTo>
                          <a:pt x="19" y="281"/>
                        </a:lnTo>
                        <a:lnTo>
                          <a:pt x="17" y="258"/>
                        </a:lnTo>
                        <a:lnTo>
                          <a:pt x="14" y="234"/>
                        </a:lnTo>
                        <a:lnTo>
                          <a:pt x="11" y="223"/>
                        </a:lnTo>
                        <a:lnTo>
                          <a:pt x="7" y="212"/>
                        </a:lnTo>
                        <a:lnTo>
                          <a:pt x="4" y="202"/>
                        </a:lnTo>
                        <a:lnTo>
                          <a:pt x="0" y="19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5" name="Freeform 239"/>
                  <p:cNvSpPr>
                    <a:spLocks/>
                  </p:cNvSpPr>
                  <p:nvPr>
                    <p:custDataLst>
                      <p:tags r:id="rId8"/>
                    </p:custDataLst>
                  </p:nvPr>
                </p:nvSpPr>
                <p:spPr bwMode="auto">
                  <a:xfrm>
                    <a:off x="4138668" y="764704"/>
                    <a:ext cx="296425" cy="557954"/>
                  </a:xfrm>
                  <a:custGeom>
                    <a:avLst/>
                    <a:gdLst>
                      <a:gd name="T0" fmla="*/ 148734 w 206"/>
                      <a:gd name="T1" fmla="*/ 541620 h 455"/>
                      <a:gd name="T2" fmla="*/ 180502 w 206"/>
                      <a:gd name="T3" fmla="*/ 515828 h 455"/>
                      <a:gd name="T4" fmla="*/ 202162 w 206"/>
                      <a:gd name="T5" fmla="*/ 496178 h 455"/>
                      <a:gd name="T6" fmla="*/ 212270 w 206"/>
                      <a:gd name="T7" fmla="*/ 478983 h 455"/>
                      <a:gd name="T8" fmla="*/ 219490 w 206"/>
                      <a:gd name="T9" fmla="*/ 458105 h 455"/>
                      <a:gd name="T10" fmla="*/ 222378 w 206"/>
                      <a:gd name="T11" fmla="*/ 432313 h 455"/>
                      <a:gd name="T12" fmla="*/ 220934 w 206"/>
                      <a:gd name="T13" fmla="*/ 411435 h 455"/>
                      <a:gd name="T14" fmla="*/ 225266 w 206"/>
                      <a:gd name="T15" fmla="*/ 406522 h 455"/>
                      <a:gd name="T16" fmla="*/ 242594 w 206"/>
                      <a:gd name="T17" fmla="*/ 404066 h 455"/>
                      <a:gd name="T18" fmla="*/ 267143 w 206"/>
                      <a:gd name="T19" fmla="*/ 399153 h 455"/>
                      <a:gd name="T20" fmla="*/ 283027 w 206"/>
                      <a:gd name="T21" fmla="*/ 390556 h 455"/>
                      <a:gd name="T22" fmla="*/ 293135 w 206"/>
                      <a:gd name="T23" fmla="*/ 373361 h 455"/>
                      <a:gd name="T24" fmla="*/ 297467 w 206"/>
                      <a:gd name="T25" fmla="*/ 343886 h 455"/>
                      <a:gd name="T26" fmla="*/ 291691 w 206"/>
                      <a:gd name="T27" fmla="*/ 325463 h 455"/>
                      <a:gd name="T28" fmla="*/ 278695 w 206"/>
                      <a:gd name="T29" fmla="*/ 324235 h 455"/>
                      <a:gd name="T30" fmla="*/ 255591 w 206"/>
                      <a:gd name="T31" fmla="*/ 314410 h 455"/>
                      <a:gd name="T32" fmla="*/ 223822 w 206"/>
                      <a:gd name="T33" fmla="*/ 297215 h 455"/>
                      <a:gd name="T34" fmla="*/ 202162 w 206"/>
                      <a:gd name="T35" fmla="*/ 283706 h 455"/>
                      <a:gd name="T36" fmla="*/ 187722 w 206"/>
                      <a:gd name="T37" fmla="*/ 280021 h 455"/>
                      <a:gd name="T38" fmla="*/ 171838 w 206"/>
                      <a:gd name="T39" fmla="*/ 272652 h 455"/>
                      <a:gd name="T40" fmla="*/ 145845 w 206"/>
                      <a:gd name="T41" fmla="*/ 260370 h 455"/>
                      <a:gd name="T42" fmla="*/ 137181 w 206"/>
                      <a:gd name="T43" fmla="*/ 253002 h 455"/>
                      <a:gd name="T44" fmla="*/ 137181 w 206"/>
                      <a:gd name="T45" fmla="*/ 244404 h 455"/>
                      <a:gd name="T46" fmla="*/ 150178 w 206"/>
                      <a:gd name="T47" fmla="*/ 222297 h 455"/>
                      <a:gd name="T48" fmla="*/ 171838 w 206"/>
                      <a:gd name="T49" fmla="*/ 194050 h 455"/>
                      <a:gd name="T50" fmla="*/ 193498 w 206"/>
                      <a:gd name="T51" fmla="*/ 171943 h 455"/>
                      <a:gd name="T52" fmla="*/ 196386 w 206"/>
                      <a:gd name="T53" fmla="*/ 158433 h 455"/>
                      <a:gd name="T54" fmla="*/ 181946 w 206"/>
                      <a:gd name="T55" fmla="*/ 142467 h 455"/>
                      <a:gd name="T56" fmla="*/ 166062 w 206"/>
                      <a:gd name="T57" fmla="*/ 128957 h 455"/>
                      <a:gd name="T58" fmla="*/ 155954 w 206"/>
                      <a:gd name="T59" fmla="*/ 114219 h 455"/>
                      <a:gd name="T60" fmla="*/ 154510 w 206"/>
                      <a:gd name="T61" fmla="*/ 103166 h 455"/>
                      <a:gd name="T62" fmla="*/ 160286 w 206"/>
                      <a:gd name="T63" fmla="*/ 95797 h 455"/>
                      <a:gd name="T64" fmla="*/ 167506 w 206"/>
                      <a:gd name="T65" fmla="*/ 88428 h 455"/>
                      <a:gd name="T66" fmla="*/ 177614 w 206"/>
                      <a:gd name="T67" fmla="*/ 84743 h 455"/>
                      <a:gd name="T68" fmla="*/ 181946 w 206"/>
                      <a:gd name="T69" fmla="*/ 45442 h 455"/>
                      <a:gd name="T70" fmla="*/ 158842 w 206"/>
                      <a:gd name="T71" fmla="*/ 39301 h 455"/>
                      <a:gd name="T72" fmla="*/ 125629 w 206"/>
                      <a:gd name="T73" fmla="*/ 25791 h 455"/>
                      <a:gd name="T74" fmla="*/ 76533 w 206"/>
                      <a:gd name="T75" fmla="*/ 0 h 455"/>
                      <a:gd name="T76" fmla="*/ 67869 w 206"/>
                      <a:gd name="T77" fmla="*/ 13510 h 455"/>
                      <a:gd name="T78" fmla="*/ 49097 w 206"/>
                      <a:gd name="T79" fmla="*/ 54039 h 455"/>
                      <a:gd name="T80" fmla="*/ 40432 w 206"/>
                      <a:gd name="T81" fmla="*/ 85971 h 455"/>
                      <a:gd name="T82" fmla="*/ 31768 w 206"/>
                      <a:gd name="T83" fmla="*/ 121588 h 455"/>
                      <a:gd name="T84" fmla="*/ 28880 w 206"/>
                      <a:gd name="T85" fmla="*/ 163346 h 455"/>
                      <a:gd name="T86" fmla="*/ 28880 w 206"/>
                      <a:gd name="T87" fmla="*/ 211244 h 455"/>
                      <a:gd name="T88" fmla="*/ 17328 w 206"/>
                      <a:gd name="T89" fmla="*/ 230895 h 455"/>
                      <a:gd name="T90" fmla="*/ 11552 w 206"/>
                      <a:gd name="T91" fmla="*/ 253002 h 455"/>
                      <a:gd name="T92" fmla="*/ 0 w 206"/>
                      <a:gd name="T93" fmla="*/ 288618 h 455"/>
                      <a:gd name="T94" fmla="*/ 31768 w 206"/>
                      <a:gd name="T95" fmla="*/ 318094 h 455"/>
                      <a:gd name="T96" fmla="*/ 59205 w 206"/>
                      <a:gd name="T97" fmla="*/ 345114 h 455"/>
                      <a:gd name="T98" fmla="*/ 79421 w 206"/>
                      <a:gd name="T99" fmla="*/ 374590 h 455"/>
                      <a:gd name="T100" fmla="*/ 95305 w 206"/>
                      <a:gd name="T101" fmla="*/ 404066 h 455"/>
                      <a:gd name="T102" fmla="*/ 108301 w 206"/>
                      <a:gd name="T103" fmla="*/ 435998 h 455"/>
                      <a:gd name="T104" fmla="*/ 118409 w 206"/>
                      <a:gd name="T105" fmla="*/ 471614 h 455"/>
                      <a:gd name="T106" fmla="*/ 134293 w 206"/>
                      <a:gd name="T107" fmla="*/ 558814 h 455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06"/>
                      <a:gd name="T163" fmla="*/ 0 h 455"/>
                      <a:gd name="T164" fmla="*/ 206 w 206"/>
                      <a:gd name="T165" fmla="*/ 455 h 455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06" h="455">
                        <a:moveTo>
                          <a:pt x="93" y="455"/>
                        </a:moveTo>
                        <a:lnTo>
                          <a:pt x="103" y="441"/>
                        </a:lnTo>
                        <a:lnTo>
                          <a:pt x="114" y="430"/>
                        </a:lnTo>
                        <a:lnTo>
                          <a:pt x="125" y="420"/>
                        </a:lnTo>
                        <a:lnTo>
                          <a:pt x="135" y="409"/>
                        </a:lnTo>
                        <a:lnTo>
                          <a:pt x="140" y="404"/>
                        </a:lnTo>
                        <a:lnTo>
                          <a:pt x="144" y="397"/>
                        </a:lnTo>
                        <a:lnTo>
                          <a:pt x="147" y="390"/>
                        </a:lnTo>
                        <a:lnTo>
                          <a:pt x="149" y="382"/>
                        </a:lnTo>
                        <a:lnTo>
                          <a:pt x="152" y="373"/>
                        </a:lnTo>
                        <a:lnTo>
                          <a:pt x="153" y="363"/>
                        </a:lnTo>
                        <a:lnTo>
                          <a:pt x="154" y="352"/>
                        </a:lnTo>
                        <a:lnTo>
                          <a:pt x="153" y="338"/>
                        </a:lnTo>
                        <a:lnTo>
                          <a:pt x="153" y="335"/>
                        </a:lnTo>
                        <a:lnTo>
                          <a:pt x="154" y="332"/>
                        </a:lnTo>
                        <a:lnTo>
                          <a:pt x="156" y="331"/>
                        </a:lnTo>
                        <a:lnTo>
                          <a:pt x="159" y="330"/>
                        </a:lnTo>
                        <a:lnTo>
                          <a:pt x="168" y="329"/>
                        </a:lnTo>
                        <a:lnTo>
                          <a:pt x="179" y="327"/>
                        </a:lnTo>
                        <a:lnTo>
                          <a:pt x="185" y="325"/>
                        </a:lnTo>
                        <a:lnTo>
                          <a:pt x="190" y="322"/>
                        </a:lnTo>
                        <a:lnTo>
                          <a:pt x="196" y="318"/>
                        </a:lnTo>
                        <a:lnTo>
                          <a:pt x="200" y="312"/>
                        </a:lnTo>
                        <a:lnTo>
                          <a:pt x="203" y="304"/>
                        </a:lnTo>
                        <a:lnTo>
                          <a:pt x="205" y="294"/>
                        </a:lnTo>
                        <a:lnTo>
                          <a:pt x="206" y="280"/>
                        </a:lnTo>
                        <a:lnTo>
                          <a:pt x="205" y="265"/>
                        </a:lnTo>
                        <a:lnTo>
                          <a:pt x="202" y="265"/>
                        </a:lnTo>
                        <a:lnTo>
                          <a:pt x="198" y="265"/>
                        </a:lnTo>
                        <a:lnTo>
                          <a:pt x="193" y="264"/>
                        </a:lnTo>
                        <a:lnTo>
                          <a:pt x="188" y="262"/>
                        </a:lnTo>
                        <a:lnTo>
                          <a:pt x="177" y="256"/>
                        </a:lnTo>
                        <a:lnTo>
                          <a:pt x="166" y="249"/>
                        </a:lnTo>
                        <a:lnTo>
                          <a:pt x="155" y="242"/>
                        </a:lnTo>
                        <a:lnTo>
                          <a:pt x="144" y="235"/>
                        </a:lnTo>
                        <a:lnTo>
                          <a:pt x="140" y="231"/>
                        </a:lnTo>
                        <a:lnTo>
                          <a:pt x="134" y="229"/>
                        </a:lnTo>
                        <a:lnTo>
                          <a:pt x="130" y="228"/>
                        </a:lnTo>
                        <a:lnTo>
                          <a:pt x="126" y="227"/>
                        </a:lnTo>
                        <a:lnTo>
                          <a:pt x="119" y="222"/>
                        </a:lnTo>
                        <a:lnTo>
                          <a:pt x="107" y="215"/>
                        </a:lnTo>
                        <a:lnTo>
                          <a:pt x="101" y="212"/>
                        </a:lnTo>
                        <a:lnTo>
                          <a:pt x="97" y="209"/>
                        </a:lnTo>
                        <a:lnTo>
                          <a:pt x="95" y="206"/>
                        </a:lnTo>
                        <a:lnTo>
                          <a:pt x="93" y="203"/>
                        </a:lnTo>
                        <a:lnTo>
                          <a:pt x="95" y="199"/>
                        </a:lnTo>
                        <a:lnTo>
                          <a:pt x="98" y="191"/>
                        </a:lnTo>
                        <a:lnTo>
                          <a:pt x="104" y="181"/>
                        </a:lnTo>
                        <a:lnTo>
                          <a:pt x="111" y="169"/>
                        </a:lnTo>
                        <a:lnTo>
                          <a:pt x="119" y="158"/>
                        </a:lnTo>
                        <a:lnTo>
                          <a:pt x="126" y="148"/>
                        </a:lnTo>
                        <a:lnTo>
                          <a:pt x="134" y="140"/>
                        </a:lnTo>
                        <a:lnTo>
                          <a:pt x="140" y="136"/>
                        </a:lnTo>
                        <a:lnTo>
                          <a:pt x="136" y="129"/>
                        </a:lnTo>
                        <a:lnTo>
                          <a:pt x="132" y="122"/>
                        </a:lnTo>
                        <a:lnTo>
                          <a:pt x="126" y="116"/>
                        </a:lnTo>
                        <a:lnTo>
                          <a:pt x="121" y="111"/>
                        </a:lnTo>
                        <a:lnTo>
                          <a:pt x="115" y="105"/>
                        </a:lnTo>
                        <a:lnTo>
                          <a:pt x="111" y="99"/>
                        </a:lnTo>
                        <a:lnTo>
                          <a:pt x="108" y="93"/>
                        </a:lnTo>
                        <a:lnTo>
                          <a:pt x="107" y="86"/>
                        </a:lnTo>
                        <a:lnTo>
                          <a:pt x="107" y="84"/>
                        </a:lnTo>
                        <a:lnTo>
                          <a:pt x="109" y="81"/>
                        </a:lnTo>
                        <a:lnTo>
                          <a:pt x="111" y="78"/>
                        </a:lnTo>
                        <a:lnTo>
                          <a:pt x="113" y="75"/>
                        </a:lnTo>
                        <a:lnTo>
                          <a:pt x="116" y="72"/>
                        </a:lnTo>
                        <a:lnTo>
                          <a:pt x="120" y="70"/>
                        </a:lnTo>
                        <a:lnTo>
                          <a:pt x="123" y="69"/>
                        </a:lnTo>
                        <a:lnTo>
                          <a:pt x="126" y="68"/>
                        </a:lnTo>
                        <a:lnTo>
                          <a:pt x="126" y="37"/>
                        </a:lnTo>
                        <a:lnTo>
                          <a:pt x="120" y="36"/>
                        </a:lnTo>
                        <a:lnTo>
                          <a:pt x="110" y="32"/>
                        </a:lnTo>
                        <a:lnTo>
                          <a:pt x="99" y="27"/>
                        </a:lnTo>
                        <a:lnTo>
                          <a:pt x="87" y="21"/>
                        </a:lnTo>
                        <a:lnTo>
                          <a:pt x="65" y="8"/>
                        </a:lnTo>
                        <a:lnTo>
                          <a:pt x="53" y="0"/>
                        </a:lnTo>
                        <a:lnTo>
                          <a:pt x="52" y="2"/>
                        </a:lnTo>
                        <a:lnTo>
                          <a:pt x="47" y="11"/>
                        </a:lnTo>
                        <a:lnTo>
                          <a:pt x="41" y="26"/>
                        </a:lnTo>
                        <a:lnTo>
                          <a:pt x="34" y="44"/>
                        </a:lnTo>
                        <a:lnTo>
                          <a:pt x="31" y="56"/>
                        </a:lnTo>
                        <a:lnTo>
                          <a:pt x="28" y="70"/>
                        </a:lnTo>
                        <a:lnTo>
                          <a:pt x="24" y="83"/>
                        </a:lnTo>
                        <a:lnTo>
                          <a:pt x="22" y="99"/>
                        </a:lnTo>
                        <a:lnTo>
                          <a:pt x="20" y="115"/>
                        </a:lnTo>
                        <a:lnTo>
                          <a:pt x="20" y="133"/>
                        </a:lnTo>
                        <a:lnTo>
                          <a:pt x="19" y="152"/>
                        </a:lnTo>
                        <a:lnTo>
                          <a:pt x="20" y="172"/>
                        </a:lnTo>
                        <a:lnTo>
                          <a:pt x="15" y="180"/>
                        </a:lnTo>
                        <a:lnTo>
                          <a:pt x="12" y="188"/>
                        </a:lnTo>
                        <a:lnTo>
                          <a:pt x="9" y="197"/>
                        </a:lnTo>
                        <a:lnTo>
                          <a:pt x="8" y="206"/>
                        </a:lnTo>
                        <a:lnTo>
                          <a:pt x="3" y="222"/>
                        </a:lnTo>
                        <a:lnTo>
                          <a:pt x="0" y="235"/>
                        </a:lnTo>
                        <a:lnTo>
                          <a:pt x="12" y="247"/>
                        </a:lnTo>
                        <a:lnTo>
                          <a:pt x="22" y="259"/>
                        </a:lnTo>
                        <a:lnTo>
                          <a:pt x="32" y="270"/>
                        </a:lnTo>
                        <a:lnTo>
                          <a:pt x="41" y="281"/>
                        </a:lnTo>
                        <a:lnTo>
                          <a:pt x="48" y="294"/>
                        </a:lnTo>
                        <a:lnTo>
                          <a:pt x="55" y="305"/>
                        </a:lnTo>
                        <a:lnTo>
                          <a:pt x="60" y="317"/>
                        </a:lnTo>
                        <a:lnTo>
                          <a:pt x="66" y="329"/>
                        </a:lnTo>
                        <a:lnTo>
                          <a:pt x="71" y="341"/>
                        </a:lnTo>
                        <a:lnTo>
                          <a:pt x="75" y="355"/>
                        </a:lnTo>
                        <a:lnTo>
                          <a:pt x="79" y="369"/>
                        </a:lnTo>
                        <a:lnTo>
                          <a:pt x="82" y="384"/>
                        </a:lnTo>
                        <a:lnTo>
                          <a:pt x="88" y="417"/>
                        </a:lnTo>
                        <a:lnTo>
                          <a:pt x="93" y="455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6" name="Freeform 240"/>
                  <p:cNvSpPr>
                    <a:spLocks/>
                  </p:cNvSpPr>
                  <p:nvPr>
                    <p:custDataLst>
                      <p:tags r:id="rId9"/>
                    </p:custDataLst>
                  </p:nvPr>
                </p:nvSpPr>
                <p:spPr bwMode="auto">
                  <a:xfrm>
                    <a:off x="2176259" y="1499966"/>
                    <a:ext cx="737311" cy="510780"/>
                  </a:xfrm>
                  <a:custGeom>
                    <a:avLst/>
                    <a:gdLst>
                      <a:gd name="T0" fmla="*/ 463261 w 518"/>
                      <a:gd name="T1" fmla="*/ 138193 h 406"/>
                      <a:gd name="T2" fmla="*/ 463261 w 518"/>
                      <a:gd name="T3" fmla="*/ 325381 h 406"/>
                      <a:gd name="T4" fmla="*/ 447630 w 518"/>
                      <a:gd name="T5" fmla="*/ 331663 h 406"/>
                      <a:gd name="T6" fmla="*/ 413524 w 518"/>
                      <a:gd name="T7" fmla="*/ 340457 h 406"/>
                      <a:gd name="T8" fmla="*/ 349577 w 518"/>
                      <a:gd name="T9" fmla="*/ 355532 h 406"/>
                      <a:gd name="T10" fmla="*/ 359525 w 518"/>
                      <a:gd name="T11" fmla="*/ 379402 h 406"/>
                      <a:gd name="T12" fmla="*/ 376577 w 518"/>
                      <a:gd name="T13" fmla="*/ 409553 h 406"/>
                      <a:gd name="T14" fmla="*/ 382261 w 518"/>
                      <a:gd name="T15" fmla="*/ 443473 h 406"/>
                      <a:gd name="T16" fmla="*/ 386525 w 518"/>
                      <a:gd name="T17" fmla="*/ 479906 h 406"/>
                      <a:gd name="T18" fmla="*/ 73894 w 518"/>
                      <a:gd name="T19" fmla="*/ 494981 h 406"/>
                      <a:gd name="T20" fmla="*/ 31263 w 518"/>
                      <a:gd name="T21" fmla="*/ 510057 h 406"/>
                      <a:gd name="T22" fmla="*/ 7105 w 518"/>
                      <a:gd name="T23" fmla="*/ 506288 h 406"/>
                      <a:gd name="T24" fmla="*/ 1421 w 518"/>
                      <a:gd name="T25" fmla="*/ 500007 h 406"/>
                      <a:gd name="T26" fmla="*/ 1421 w 518"/>
                      <a:gd name="T27" fmla="*/ 483675 h 406"/>
                      <a:gd name="T28" fmla="*/ 5684 w 518"/>
                      <a:gd name="T29" fmla="*/ 466087 h 406"/>
                      <a:gd name="T30" fmla="*/ 15632 w 518"/>
                      <a:gd name="T31" fmla="*/ 444730 h 406"/>
                      <a:gd name="T32" fmla="*/ 28421 w 518"/>
                      <a:gd name="T33" fmla="*/ 428398 h 406"/>
                      <a:gd name="T34" fmla="*/ 42631 w 518"/>
                      <a:gd name="T35" fmla="*/ 419604 h 406"/>
                      <a:gd name="T36" fmla="*/ 54000 w 518"/>
                      <a:gd name="T37" fmla="*/ 409553 h 406"/>
                      <a:gd name="T38" fmla="*/ 62526 w 518"/>
                      <a:gd name="T39" fmla="*/ 398247 h 406"/>
                      <a:gd name="T40" fmla="*/ 69631 w 518"/>
                      <a:gd name="T41" fmla="*/ 366839 h 406"/>
                      <a:gd name="T42" fmla="*/ 79579 w 518"/>
                      <a:gd name="T43" fmla="*/ 332919 h 406"/>
                      <a:gd name="T44" fmla="*/ 88105 w 518"/>
                      <a:gd name="T45" fmla="*/ 322869 h 406"/>
                      <a:gd name="T46" fmla="*/ 105157 w 518"/>
                      <a:gd name="T47" fmla="*/ 309049 h 406"/>
                      <a:gd name="T48" fmla="*/ 130736 w 518"/>
                      <a:gd name="T49" fmla="*/ 298999 h 406"/>
                      <a:gd name="T50" fmla="*/ 152052 w 518"/>
                      <a:gd name="T51" fmla="*/ 290205 h 406"/>
                      <a:gd name="T52" fmla="*/ 173368 w 518"/>
                      <a:gd name="T53" fmla="*/ 273873 h 406"/>
                      <a:gd name="T54" fmla="*/ 193262 w 518"/>
                      <a:gd name="T55" fmla="*/ 244978 h 406"/>
                      <a:gd name="T56" fmla="*/ 213157 w 518"/>
                      <a:gd name="T57" fmla="*/ 195983 h 406"/>
                      <a:gd name="T58" fmla="*/ 230209 w 518"/>
                      <a:gd name="T59" fmla="*/ 146987 h 406"/>
                      <a:gd name="T60" fmla="*/ 244420 w 518"/>
                      <a:gd name="T61" fmla="*/ 118092 h 406"/>
                      <a:gd name="T62" fmla="*/ 264315 w 518"/>
                      <a:gd name="T63" fmla="*/ 91710 h 406"/>
                      <a:gd name="T64" fmla="*/ 285630 w 518"/>
                      <a:gd name="T65" fmla="*/ 77890 h 406"/>
                      <a:gd name="T66" fmla="*/ 302683 w 518"/>
                      <a:gd name="T67" fmla="*/ 71609 h 406"/>
                      <a:gd name="T68" fmla="*/ 311209 w 518"/>
                      <a:gd name="T69" fmla="*/ 55277 h 406"/>
                      <a:gd name="T70" fmla="*/ 316893 w 518"/>
                      <a:gd name="T71" fmla="*/ 35176 h 406"/>
                      <a:gd name="T72" fmla="*/ 323998 w 518"/>
                      <a:gd name="T73" fmla="*/ 20101 h 406"/>
                      <a:gd name="T74" fmla="*/ 339630 w 518"/>
                      <a:gd name="T75" fmla="*/ 10050 h 406"/>
                      <a:gd name="T76" fmla="*/ 726155 w 518"/>
                      <a:gd name="T77" fmla="*/ 0 h 406"/>
                      <a:gd name="T78" fmla="*/ 731839 w 518"/>
                      <a:gd name="T79" fmla="*/ 57790 h 406"/>
                      <a:gd name="T80" fmla="*/ 736102 w 518"/>
                      <a:gd name="T81" fmla="*/ 138193 h 40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518"/>
                      <a:gd name="T124" fmla="*/ 0 h 406"/>
                      <a:gd name="T125" fmla="*/ 518 w 518"/>
                      <a:gd name="T126" fmla="*/ 406 h 406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518" h="406">
                        <a:moveTo>
                          <a:pt x="518" y="110"/>
                        </a:moveTo>
                        <a:lnTo>
                          <a:pt x="326" y="110"/>
                        </a:lnTo>
                        <a:lnTo>
                          <a:pt x="312" y="104"/>
                        </a:lnTo>
                        <a:lnTo>
                          <a:pt x="326" y="259"/>
                        </a:lnTo>
                        <a:lnTo>
                          <a:pt x="323" y="261"/>
                        </a:lnTo>
                        <a:lnTo>
                          <a:pt x="315" y="264"/>
                        </a:lnTo>
                        <a:lnTo>
                          <a:pt x="304" y="267"/>
                        </a:lnTo>
                        <a:lnTo>
                          <a:pt x="291" y="271"/>
                        </a:lnTo>
                        <a:lnTo>
                          <a:pt x="263" y="277"/>
                        </a:lnTo>
                        <a:lnTo>
                          <a:pt x="246" y="283"/>
                        </a:lnTo>
                        <a:lnTo>
                          <a:pt x="250" y="292"/>
                        </a:lnTo>
                        <a:lnTo>
                          <a:pt x="253" y="302"/>
                        </a:lnTo>
                        <a:lnTo>
                          <a:pt x="258" y="314"/>
                        </a:lnTo>
                        <a:lnTo>
                          <a:pt x="265" y="326"/>
                        </a:lnTo>
                        <a:lnTo>
                          <a:pt x="267" y="335"/>
                        </a:lnTo>
                        <a:lnTo>
                          <a:pt x="269" y="353"/>
                        </a:lnTo>
                        <a:lnTo>
                          <a:pt x="271" y="373"/>
                        </a:lnTo>
                        <a:lnTo>
                          <a:pt x="272" y="382"/>
                        </a:lnTo>
                        <a:lnTo>
                          <a:pt x="67" y="382"/>
                        </a:lnTo>
                        <a:lnTo>
                          <a:pt x="52" y="394"/>
                        </a:lnTo>
                        <a:lnTo>
                          <a:pt x="39" y="406"/>
                        </a:lnTo>
                        <a:lnTo>
                          <a:pt x="22" y="406"/>
                        </a:lnTo>
                        <a:lnTo>
                          <a:pt x="10" y="404"/>
                        </a:lnTo>
                        <a:lnTo>
                          <a:pt x="5" y="403"/>
                        </a:lnTo>
                        <a:lnTo>
                          <a:pt x="2" y="401"/>
                        </a:lnTo>
                        <a:lnTo>
                          <a:pt x="1" y="398"/>
                        </a:lnTo>
                        <a:lnTo>
                          <a:pt x="0" y="394"/>
                        </a:lnTo>
                        <a:lnTo>
                          <a:pt x="1" y="385"/>
                        </a:lnTo>
                        <a:lnTo>
                          <a:pt x="2" y="378"/>
                        </a:lnTo>
                        <a:lnTo>
                          <a:pt x="4" y="371"/>
                        </a:lnTo>
                        <a:lnTo>
                          <a:pt x="6" y="365"/>
                        </a:lnTo>
                        <a:lnTo>
                          <a:pt x="11" y="354"/>
                        </a:lnTo>
                        <a:lnTo>
                          <a:pt x="13" y="344"/>
                        </a:lnTo>
                        <a:lnTo>
                          <a:pt x="20" y="341"/>
                        </a:lnTo>
                        <a:lnTo>
                          <a:pt x="26" y="337"/>
                        </a:lnTo>
                        <a:lnTo>
                          <a:pt x="30" y="334"/>
                        </a:lnTo>
                        <a:lnTo>
                          <a:pt x="35" y="330"/>
                        </a:lnTo>
                        <a:lnTo>
                          <a:pt x="38" y="326"/>
                        </a:lnTo>
                        <a:lnTo>
                          <a:pt x="41" y="321"/>
                        </a:lnTo>
                        <a:lnTo>
                          <a:pt x="44" y="317"/>
                        </a:lnTo>
                        <a:lnTo>
                          <a:pt x="46" y="313"/>
                        </a:lnTo>
                        <a:lnTo>
                          <a:pt x="49" y="292"/>
                        </a:lnTo>
                        <a:lnTo>
                          <a:pt x="52" y="271"/>
                        </a:lnTo>
                        <a:lnTo>
                          <a:pt x="56" y="265"/>
                        </a:lnTo>
                        <a:lnTo>
                          <a:pt x="59" y="261"/>
                        </a:lnTo>
                        <a:lnTo>
                          <a:pt x="62" y="257"/>
                        </a:lnTo>
                        <a:lnTo>
                          <a:pt x="66" y="253"/>
                        </a:lnTo>
                        <a:lnTo>
                          <a:pt x="74" y="246"/>
                        </a:lnTo>
                        <a:lnTo>
                          <a:pt x="83" y="242"/>
                        </a:lnTo>
                        <a:lnTo>
                          <a:pt x="92" y="238"/>
                        </a:lnTo>
                        <a:lnTo>
                          <a:pt x="100" y="235"/>
                        </a:lnTo>
                        <a:lnTo>
                          <a:pt x="107" y="231"/>
                        </a:lnTo>
                        <a:lnTo>
                          <a:pt x="113" y="227"/>
                        </a:lnTo>
                        <a:lnTo>
                          <a:pt x="122" y="218"/>
                        </a:lnTo>
                        <a:lnTo>
                          <a:pt x="129" y="207"/>
                        </a:lnTo>
                        <a:lnTo>
                          <a:pt x="136" y="195"/>
                        </a:lnTo>
                        <a:lnTo>
                          <a:pt x="141" y="182"/>
                        </a:lnTo>
                        <a:lnTo>
                          <a:pt x="150" y="156"/>
                        </a:lnTo>
                        <a:lnTo>
                          <a:pt x="158" y="129"/>
                        </a:lnTo>
                        <a:lnTo>
                          <a:pt x="162" y="117"/>
                        </a:lnTo>
                        <a:lnTo>
                          <a:pt x="168" y="105"/>
                        </a:lnTo>
                        <a:lnTo>
                          <a:pt x="172" y="94"/>
                        </a:lnTo>
                        <a:lnTo>
                          <a:pt x="179" y="83"/>
                        </a:lnTo>
                        <a:lnTo>
                          <a:pt x="186" y="73"/>
                        </a:lnTo>
                        <a:lnTo>
                          <a:pt x="195" y="66"/>
                        </a:lnTo>
                        <a:lnTo>
                          <a:pt x="201" y="62"/>
                        </a:lnTo>
                        <a:lnTo>
                          <a:pt x="206" y="59"/>
                        </a:lnTo>
                        <a:lnTo>
                          <a:pt x="213" y="57"/>
                        </a:lnTo>
                        <a:lnTo>
                          <a:pt x="219" y="55"/>
                        </a:lnTo>
                        <a:lnTo>
                          <a:pt x="219" y="44"/>
                        </a:lnTo>
                        <a:lnTo>
                          <a:pt x="220" y="36"/>
                        </a:lnTo>
                        <a:lnTo>
                          <a:pt x="223" y="28"/>
                        </a:lnTo>
                        <a:lnTo>
                          <a:pt x="225" y="21"/>
                        </a:lnTo>
                        <a:lnTo>
                          <a:pt x="228" y="16"/>
                        </a:lnTo>
                        <a:lnTo>
                          <a:pt x="233" y="11"/>
                        </a:lnTo>
                        <a:lnTo>
                          <a:pt x="239" y="8"/>
                        </a:lnTo>
                        <a:lnTo>
                          <a:pt x="246" y="6"/>
                        </a:lnTo>
                        <a:lnTo>
                          <a:pt x="511" y="0"/>
                        </a:lnTo>
                        <a:lnTo>
                          <a:pt x="513" y="13"/>
                        </a:lnTo>
                        <a:lnTo>
                          <a:pt x="515" y="46"/>
                        </a:lnTo>
                        <a:lnTo>
                          <a:pt x="517" y="83"/>
                        </a:lnTo>
                        <a:lnTo>
                          <a:pt x="518" y="11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7" name="Freeform 247"/>
                  <p:cNvSpPr>
                    <a:spLocks/>
                  </p:cNvSpPr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4686492" y="2755769"/>
                    <a:ext cx="1033736" cy="577474"/>
                  </a:xfrm>
                  <a:custGeom>
                    <a:avLst/>
                    <a:gdLst>
                      <a:gd name="T0" fmla="*/ 135777 w 746"/>
                      <a:gd name="T1" fmla="*/ 556630 h 469"/>
                      <a:gd name="T2" fmla="*/ 74816 w 746"/>
                      <a:gd name="T3" fmla="*/ 541852 h 469"/>
                      <a:gd name="T4" fmla="*/ 29095 w 746"/>
                      <a:gd name="T5" fmla="*/ 528306 h 469"/>
                      <a:gd name="T6" fmla="*/ 6927 w 746"/>
                      <a:gd name="T7" fmla="*/ 508602 h 469"/>
                      <a:gd name="T8" fmla="*/ 0 w 746"/>
                      <a:gd name="T9" fmla="*/ 447028 h 469"/>
                      <a:gd name="T10" fmla="*/ 6927 w 746"/>
                      <a:gd name="T11" fmla="*/ 380528 h 469"/>
                      <a:gd name="T12" fmla="*/ 31866 w 746"/>
                      <a:gd name="T13" fmla="*/ 336195 h 469"/>
                      <a:gd name="T14" fmla="*/ 77587 w 746"/>
                      <a:gd name="T15" fmla="*/ 280778 h 469"/>
                      <a:gd name="T16" fmla="*/ 167643 w 746"/>
                      <a:gd name="T17" fmla="*/ 251222 h 469"/>
                      <a:gd name="T18" fmla="*/ 229989 w 746"/>
                      <a:gd name="T19" fmla="*/ 231519 h 469"/>
                      <a:gd name="T20" fmla="*/ 325587 w 746"/>
                      <a:gd name="T21" fmla="*/ 213046 h 469"/>
                      <a:gd name="T22" fmla="*/ 362995 w 746"/>
                      <a:gd name="T23" fmla="*/ 188417 h 469"/>
                      <a:gd name="T24" fmla="*/ 369922 w 746"/>
                      <a:gd name="T25" fmla="*/ 167482 h 469"/>
                      <a:gd name="T26" fmla="*/ 404559 w 746"/>
                      <a:gd name="T27" fmla="*/ 147778 h 469"/>
                      <a:gd name="T28" fmla="*/ 459978 w 746"/>
                      <a:gd name="T29" fmla="*/ 141620 h 469"/>
                      <a:gd name="T30" fmla="*/ 497386 w 746"/>
                      <a:gd name="T31" fmla="*/ 124380 h 469"/>
                      <a:gd name="T32" fmla="*/ 538951 w 746"/>
                      <a:gd name="T33" fmla="*/ 82509 h 469"/>
                      <a:gd name="T34" fmla="*/ 588828 w 746"/>
                      <a:gd name="T35" fmla="*/ 27093 h 469"/>
                      <a:gd name="T36" fmla="*/ 623465 w 746"/>
                      <a:gd name="T37" fmla="*/ 7389 h 469"/>
                      <a:gd name="T38" fmla="*/ 673342 w 746"/>
                      <a:gd name="T39" fmla="*/ 0 h 469"/>
                      <a:gd name="T40" fmla="*/ 702437 w 746"/>
                      <a:gd name="T41" fmla="*/ 35713 h 469"/>
                      <a:gd name="T42" fmla="*/ 737074 w 746"/>
                      <a:gd name="T43" fmla="*/ 65269 h 469"/>
                      <a:gd name="T44" fmla="*/ 766169 w 746"/>
                      <a:gd name="T45" fmla="*/ 131769 h 469"/>
                      <a:gd name="T46" fmla="*/ 802191 w 746"/>
                      <a:gd name="T47" fmla="*/ 195806 h 469"/>
                      <a:gd name="T48" fmla="*/ 849298 w 746"/>
                      <a:gd name="T49" fmla="*/ 211815 h 469"/>
                      <a:gd name="T50" fmla="*/ 870080 w 746"/>
                      <a:gd name="T51" fmla="*/ 237676 h 469"/>
                      <a:gd name="T52" fmla="*/ 900560 w 746"/>
                      <a:gd name="T53" fmla="*/ 286935 h 469"/>
                      <a:gd name="T54" fmla="*/ 972605 w 746"/>
                      <a:gd name="T55" fmla="*/ 343584 h 469"/>
                      <a:gd name="T56" fmla="*/ 1026639 w 746"/>
                      <a:gd name="T57" fmla="*/ 387917 h 469"/>
                      <a:gd name="T58" fmla="*/ 985074 w 746"/>
                      <a:gd name="T59" fmla="*/ 424861 h 469"/>
                      <a:gd name="T60" fmla="*/ 957365 w 746"/>
                      <a:gd name="T61" fmla="*/ 421167 h 469"/>
                      <a:gd name="T62" fmla="*/ 940739 w 746"/>
                      <a:gd name="T63" fmla="*/ 395306 h 469"/>
                      <a:gd name="T64" fmla="*/ 901946 w 746"/>
                      <a:gd name="T65" fmla="*/ 406389 h 469"/>
                      <a:gd name="T66" fmla="*/ 885320 w 746"/>
                      <a:gd name="T67" fmla="*/ 433482 h 469"/>
                      <a:gd name="T68" fmla="*/ 836828 w 746"/>
                      <a:gd name="T69" fmla="*/ 438408 h 469"/>
                      <a:gd name="T70" fmla="*/ 766169 w 746"/>
                      <a:gd name="T71" fmla="*/ 438408 h 469"/>
                      <a:gd name="T72" fmla="*/ 723219 w 746"/>
                      <a:gd name="T73" fmla="*/ 449491 h 469"/>
                      <a:gd name="T74" fmla="*/ 687197 w 746"/>
                      <a:gd name="T75" fmla="*/ 476584 h 469"/>
                      <a:gd name="T76" fmla="*/ 673342 w 746"/>
                      <a:gd name="T77" fmla="*/ 485204 h 469"/>
                      <a:gd name="T78" fmla="*/ 590213 w 746"/>
                      <a:gd name="T79" fmla="*/ 492593 h 469"/>
                      <a:gd name="T80" fmla="*/ 548649 w 746"/>
                      <a:gd name="T81" fmla="*/ 482741 h 469"/>
                      <a:gd name="T82" fmla="*/ 483532 w 746"/>
                      <a:gd name="T83" fmla="*/ 435945 h 469"/>
                      <a:gd name="T84" fmla="*/ 441967 w 746"/>
                      <a:gd name="T85" fmla="*/ 424861 h 469"/>
                      <a:gd name="T86" fmla="*/ 403174 w 746"/>
                      <a:gd name="T87" fmla="*/ 437176 h 469"/>
                      <a:gd name="T88" fmla="*/ 368537 w 746"/>
                      <a:gd name="T89" fmla="*/ 464269 h 469"/>
                      <a:gd name="T90" fmla="*/ 314503 w 746"/>
                      <a:gd name="T91" fmla="*/ 538158 h 469"/>
                      <a:gd name="T92" fmla="*/ 207822 w 746"/>
                      <a:gd name="T93" fmla="*/ 540621 h 469"/>
                      <a:gd name="T94" fmla="*/ 187039 w 746"/>
                      <a:gd name="T95" fmla="*/ 551704 h 469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746"/>
                      <a:gd name="T145" fmla="*/ 0 h 469"/>
                      <a:gd name="T146" fmla="*/ 746 w 746"/>
                      <a:gd name="T147" fmla="*/ 469 h 469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746" h="469">
                        <a:moveTo>
                          <a:pt x="114" y="469"/>
                        </a:moveTo>
                        <a:lnTo>
                          <a:pt x="109" y="463"/>
                        </a:lnTo>
                        <a:lnTo>
                          <a:pt x="103" y="456"/>
                        </a:lnTo>
                        <a:lnTo>
                          <a:pt x="98" y="452"/>
                        </a:lnTo>
                        <a:lnTo>
                          <a:pt x="92" y="449"/>
                        </a:lnTo>
                        <a:lnTo>
                          <a:pt x="79" y="445"/>
                        </a:lnTo>
                        <a:lnTo>
                          <a:pt x="67" y="442"/>
                        </a:lnTo>
                        <a:lnTo>
                          <a:pt x="54" y="440"/>
                        </a:lnTo>
                        <a:lnTo>
                          <a:pt x="39" y="437"/>
                        </a:lnTo>
                        <a:lnTo>
                          <a:pt x="33" y="435"/>
                        </a:lnTo>
                        <a:lnTo>
                          <a:pt x="26" y="433"/>
                        </a:lnTo>
                        <a:lnTo>
                          <a:pt x="21" y="429"/>
                        </a:lnTo>
                        <a:lnTo>
                          <a:pt x="14" y="425"/>
                        </a:lnTo>
                        <a:lnTo>
                          <a:pt x="11" y="422"/>
                        </a:lnTo>
                        <a:lnTo>
                          <a:pt x="8" y="418"/>
                        </a:lnTo>
                        <a:lnTo>
                          <a:pt x="5" y="413"/>
                        </a:lnTo>
                        <a:lnTo>
                          <a:pt x="3" y="408"/>
                        </a:lnTo>
                        <a:lnTo>
                          <a:pt x="1" y="396"/>
                        </a:lnTo>
                        <a:lnTo>
                          <a:pt x="0" y="385"/>
                        </a:lnTo>
                        <a:lnTo>
                          <a:pt x="0" y="363"/>
                        </a:lnTo>
                        <a:lnTo>
                          <a:pt x="1" y="345"/>
                        </a:lnTo>
                        <a:lnTo>
                          <a:pt x="1" y="332"/>
                        </a:lnTo>
                        <a:lnTo>
                          <a:pt x="3" y="320"/>
                        </a:lnTo>
                        <a:lnTo>
                          <a:pt x="5" y="309"/>
                        </a:lnTo>
                        <a:lnTo>
                          <a:pt x="10" y="299"/>
                        </a:lnTo>
                        <a:lnTo>
                          <a:pt x="13" y="289"/>
                        </a:lnTo>
                        <a:lnTo>
                          <a:pt x="19" y="281"/>
                        </a:lnTo>
                        <a:lnTo>
                          <a:pt x="23" y="273"/>
                        </a:lnTo>
                        <a:lnTo>
                          <a:pt x="30" y="265"/>
                        </a:lnTo>
                        <a:lnTo>
                          <a:pt x="41" y="251"/>
                        </a:lnTo>
                        <a:lnTo>
                          <a:pt x="52" y="236"/>
                        </a:lnTo>
                        <a:lnTo>
                          <a:pt x="56" y="228"/>
                        </a:lnTo>
                        <a:lnTo>
                          <a:pt x="60" y="220"/>
                        </a:lnTo>
                        <a:lnTo>
                          <a:pt x="65" y="212"/>
                        </a:lnTo>
                        <a:lnTo>
                          <a:pt x="67" y="204"/>
                        </a:lnTo>
                        <a:lnTo>
                          <a:pt x="121" y="204"/>
                        </a:lnTo>
                        <a:lnTo>
                          <a:pt x="131" y="198"/>
                        </a:lnTo>
                        <a:lnTo>
                          <a:pt x="142" y="194"/>
                        </a:lnTo>
                        <a:lnTo>
                          <a:pt x="154" y="191"/>
                        </a:lnTo>
                        <a:lnTo>
                          <a:pt x="166" y="188"/>
                        </a:lnTo>
                        <a:lnTo>
                          <a:pt x="190" y="184"/>
                        </a:lnTo>
                        <a:lnTo>
                          <a:pt x="213" y="178"/>
                        </a:lnTo>
                        <a:lnTo>
                          <a:pt x="224" y="176"/>
                        </a:lnTo>
                        <a:lnTo>
                          <a:pt x="235" y="173"/>
                        </a:lnTo>
                        <a:lnTo>
                          <a:pt x="244" y="170"/>
                        </a:lnTo>
                        <a:lnTo>
                          <a:pt x="251" y="165"/>
                        </a:lnTo>
                        <a:lnTo>
                          <a:pt x="258" y="160"/>
                        </a:lnTo>
                        <a:lnTo>
                          <a:pt x="262" y="153"/>
                        </a:lnTo>
                        <a:lnTo>
                          <a:pt x="265" y="150"/>
                        </a:lnTo>
                        <a:lnTo>
                          <a:pt x="266" y="145"/>
                        </a:lnTo>
                        <a:lnTo>
                          <a:pt x="267" y="141"/>
                        </a:lnTo>
                        <a:lnTo>
                          <a:pt x="267" y="136"/>
                        </a:lnTo>
                        <a:lnTo>
                          <a:pt x="267" y="126"/>
                        </a:lnTo>
                        <a:lnTo>
                          <a:pt x="267" y="117"/>
                        </a:lnTo>
                        <a:lnTo>
                          <a:pt x="280" y="119"/>
                        </a:lnTo>
                        <a:lnTo>
                          <a:pt x="292" y="120"/>
                        </a:lnTo>
                        <a:lnTo>
                          <a:pt x="303" y="120"/>
                        </a:lnTo>
                        <a:lnTo>
                          <a:pt x="313" y="119"/>
                        </a:lnTo>
                        <a:lnTo>
                          <a:pt x="323" y="117"/>
                        </a:lnTo>
                        <a:lnTo>
                          <a:pt x="332" y="115"/>
                        </a:lnTo>
                        <a:lnTo>
                          <a:pt x="339" y="112"/>
                        </a:lnTo>
                        <a:lnTo>
                          <a:pt x="347" y="109"/>
                        </a:lnTo>
                        <a:lnTo>
                          <a:pt x="354" y="105"/>
                        </a:lnTo>
                        <a:lnTo>
                          <a:pt x="359" y="101"/>
                        </a:lnTo>
                        <a:lnTo>
                          <a:pt x="366" y="96"/>
                        </a:lnTo>
                        <a:lnTo>
                          <a:pt x="370" y="91"/>
                        </a:lnTo>
                        <a:lnTo>
                          <a:pt x="380" y="80"/>
                        </a:lnTo>
                        <a:lnTo>
                          <a:pt x="389" y="67"/>
                        </a:lnTo>
                        <a:lnTo>
                          <a:pt x="397" y="56"/>
                        </a:lnTo>
                        <a:lnTo>
                          <a:pt x="405" y="44"/>
                        </a:lnTo>
                        <a:lnTo>
                          <a:pt x="414" y="32"/>
                        </a:lnTo>
                        <a:lnTo>
                          <a:pt x="425" y="22"/>
                        </a:lnTo>
                        <a:lnTo>
                          <a:pt x="430" y="18"/>
                        </a:lnTo>
                        <a:lnTo>
                          <a:pt x="436" y="13"/>
                        </a:lnTo>
                        <a:lnTo>
                          <a:pt x="442" y="9"/>
                        </a:lnTo>
                        <a:lnTo>
                          <a:pt x="450" y="6"/>
                        </a:lnTo>
                        <a:lnTo>
                          <a:pt x="458" y="3"/>
                        </a:lnTo>
                        <a:lnTo>
                          <a:pt x="467" y="1"/>
                        </a:lnTo>
                        <a:lnTo>
                          <a:pt x="475" y="0"/>
                        </a:lnTo>
                        <a:lnTo>
                          <a:pt x="486" y="0"/>
                        </a:lnTo>
                        <a:lnTo>
                          <a:pt x="486" y="6"/>
                        </a:lnTo>
                        <a:lnTo>
                          <a:pt x="492" y="14"/>
                        </a:lnTo>
                        <a:lnTo>
                          <a:pt x="498" y="22"/>
                        </a:lnTo>
                        <a:lnTo>
                          <a:pt x="507" y="29"/>
                        </a:lnTo>
                        <a:lnTo>
                          <a:pt x="515" y="35"/>
                        </a:lnTo>
                        <a:lnTo>
                          <a:pt x="523" y="41"/>
                        </a:lnTo>
                        <a:lnTo>
                          <a:pt x="530" y="49"/>
                        </a:lnTo>
                        <a:lnTo>
                          <a:pt x="532" y="53"/>
                        </a:lnTo>
                        <a:lnTo>
                          <a:pt x="536" y="57"/>
                        </a:lnTo>
                        <a:lnTo>
                          <a:pt x="538" y="62"/>
                        </a:lnTo>
                        <a:lnTo>
                          <a:pt x="539" y="67"/>
                        </a:lnTo>
                        <a:lnTo>
                          <a:pt x="553" y="107"/>
                        </a:lnTo>
                        <a:lnTo>
                          <a:pt x="564" y="141"/>
                        </a:lnTo>
                        <a:lnTo>
                          <a:pt x="569" y="148"/>
                        </a:lnTo>
                        <a:lnTo>
                          <a:pt x="573" y="154"/>
                        </a:lnTo>
                        <a:lnTo>
                          <a:pt x="579" y="159"/>
                        </a:lnTo>
                        <a:lnTo>
                          <a:pt x="585" y="164"/>
                        </a:lnTo>
                        <a:lnTo>
                          <a:pt x="593" y="168"/>
                        </a:lnTo>
                        <a:lnTo>
                          <a:pt x="602" y="170"/>
                        </a:lnTo>
                        <a:lnTo>
                          <a:pt x="613" y="172"/>
                        </a:lnTo>
                        <a:lnTo>
                          <a:pt x="626" y="172"/>
                        </a:lnTo>
                        <a:lnTo>
                          <a:pt x="626" y="179"/>
                        </a:lnTo>
                        <a:lnTo>
                          <a:pt x="627" y="187"/>
                        </a:lnTo>
                        <a:lnTo>
                          <a:pt x="628" y="193"/>
                        </a:lnTo>
                        <a:lnTo>
                          <a:pt x="630" y="199"/>
                        </a:lnTo>
                        <a:lnTo>
                          <a:pt x="636" y="211"/>
                        </a:lnTo>
                        <a:lnTo>
                          <a:pt x="642" y="222"/>
                        </a:lnTo>
                        <a:lnTo>
                          <a:pt x="650" y="233"/>
                        </a:lnTo>
                        <a:lnTo>
                          <a:pt x="660" y="244"/>
                        </a:lnTo>
                        <a:lnTo>
                          <a:pt x="670" y="254"/>
                        </a:lnTo>
                        <a:lnTo>
                          <a:pt x="681" y="263"/>
                        </a:lnTo>
                        <a:lnTo>
                          <a:pt x="702" y="279"/>
                        </a:lnTo>
                        <a:lnTo>
                          <a:pt x="720" y="294"/>
                        </a:lnTo>
                        <a:lnTo>
                          <a:pt x="729" y="302"/>
                        </a:lnTo>
                        <a:lnTo>
                          <a:pt x="736" y="309"/>
                        </a:lnTo>
                        <a:lnTo>
                          <a:pt x="741" y="315"/>
                        </a:lnTo>
                        <a:lnTo>
                          <a:pt x="746" y="321"/>
                        </a:lnTo>
                        <a:lnTo>
                          <a:pt x="738" y="345"/>
                        </a:lnTo>
                        <a:lnTo>
                          <a:pt x="728" y="345"/>
                        </a:lnTo>
                        <a:lnTo>
                          <a:pt x="711" y="345"/>
                        </a:lnTo>
                        <a:lnTo>
                          <a:pt x="706" y="345"/>
                        </a:lnTo>
                        <a:lnTo>
                          <a:pt x="700" y="344"/>
                        </a:lnTo>
                        <a:lnTo>
                          <a:pt x="695" y="343"/>
                        </a:lnTo>
                        <a:lnTo>
                          <a:pt x="691" y="342"/>
                        </a:lnTo>
                        <a:lnTo>
                          <a:pt x="685" y="339"/>
                        </a:lnTo>
                        <a:lnTo>
                          <a:pt x="682" y="335"/>
                        </a:lnTo>
                        <a:lnTo>
                          <a:pt x="680" y="329"/>
                        </a:lnTo>
                        <a:lnTo>
                          <a:pt x="679" y="321"/>
                        </a:lnTo>
                        <a:lnTo>
                          <a:pt x="666" y="321"/>
                        </a:lnTo>
                        <a:lnTo>
                          <a:pt x="659" y="321"/>
                        </a:lnTo>
                        <a:lnTo>
                          <a:pt x="654" y="325"/>
                        </a:lnTo>
                        <a:lnTo>
                          <a:pt x="651" y="330"/>
                        </a:lnTo>
                        <a:lnTo>
                          <a:pt x="648" y="334"/>
                        </a:lnTo>
                        <a:lnTo>
                          <a:pt x="647" y="338"/>
                        </a:lnTo>
                        <a:lnTo>
                          <a:pt x="642" y="345"/>
                        </a:lnTo>
                        <a:lnTo>
                          <a:pt x="639" y="352"/>
                        </a:lnTo>
                        <a:lnTo>
                          <a:pt x="630" y="354"/>
                        </a:lnTo>
                        <a:lnTo>
                          <a:pt x="621" y="355"/>
                        </a:lnTo>
                        <a:lnTo>
                          <a:pt x="613" y="355"/>
                        </a:lnTo>
                        <a:lnTo>
                          <a:pt x="604" y="356"/>
                        </a:lnTo>
                        <a:lnTo>
                          <a:pt x="586" y="355"/>
                        </a:lnTo>
                        <a:lnTo>
                          <a:pt x="570" y="355"/>
                        </a:lnTo>
                        <a:lnTo>
                          <a:pt x="561" y="355"/>
                        </a:lnTo>
                        <a:lnTo>
                          <a:pt x="553" y="356"/>
                        </a:lnTo>
                        <a:lnTo>
                          <a:pt x="545" y="357"/>
                        </a:lnTo>
                        <a:lnTo>
                          <a:pt x="537" y="359"/>
                        </a:lnTo>
                        <a:lnTo>
                          <a:pt x="529" y="361"/>
                        </a:lnTo>
                        <a:lnTo>
                          <a:pt x="522" y="365"/>
                        </a:lnTo>
                        <a:lnTo>
                          <a:pt x="514" y="370"/>
                        </a:lnTo>
                        <a:lnTo>
                          <a:pt x="506" y="376"/>
                        </a:lnTo>
                        <a:lnTo>
                          <a:pt x="501" y="381"/>
                        </a:lnTo>
                        <a:lnTo>
                          <a:pt x="496" y="387"/>
                        </a:lnTo>
                        <a:lnTo>
                          <a:pt x="493" y="390"/>
                        </a:lnTo>
                        <a:lnTo>
                          <a:pt x="491" y="392"/>
                        </a:lnTo>
                        <a:lnTo>
                          <a:pt x="489" y="394"/>
                        </a:lnTo>
                        <a:lnTo>
                          <a:pt x="486" y="394"/>
                        </a:lnTo>
                        <a:lnTo>
                          <a:pt x="466" y="395"/>
                        </a:lnTo>
                        <a:lnTo>
                          <a:pt x="451" y="397"/>
                        </a:lnTo>
                        <a:lnTo>
                          <a:pt x="439" y="399"/>
                        </a:lnTo>
                        <a:lnTo>
                          <a:pt x="426" y="400"/>
                        </a:lnTo>
                        <a:lnTo>
                          <a:pt x="417" y="400"/>
                        </a:lnTo>
                        <a:lnTo>
                          <a:pt x="410" y="398"/>
                        </a:lnTo>
                        <a:lnTo>
                          <a:pt x="403" y="395"/>
                        </a:lnTo>
                        <a:lnTo>
                          <a:pt x="396" y="392"/>
                        </a:lnTo>
                        <a:lnTo>
                          <a:pt x="384" y="383"/>
                        </a:lnTo>
                        <a:lnTo>
                          <a:pt x="373" y="373"/>
                        </a:lnTo>
                        <a:lnTo>
                          <a:pt x="361" y="363"/>
                        </a:lnTo>
                        <a:lnTo>
                          <a:pt x="349" y="354"/>
                        </a:lnTo>
                        <a:lnTo>
                          <a:pt x="343" y="351"/>
                        </a:lnTo>
                        <a:lnTo>
                          <a:pt x="336" y="347"/>
                        </a:lnTo>
                        <a:lnTo>
                          <a:pt x="328" y="345"/>
                        </a:lnTo>
                        <a:lnTo>
                          <a:pt x="319" y="345"/>
                        </a:lnTo>
                        <a:lnTo>
                          <a:pt x="313" y="345"/>
                        </a:lnTo>
                        <a:lnTo>
                          <a:pt x="305" y="347"/>
                        </a:lnTo>
                        <a:lnTo>
                          <a:pt x="299" y="351"/>
                        </a:lnTo>
                        <a:lnTo>
                          <a:pt x="291" y="355"/>
                        </a:lnTo>
                        <a:lnTo>
                          <a:pt x="284" y="360"/>
                        </a:lnTo>
                        <a:lnTo>
                          <a:pt x="278" y="365"/>
                        </a:lnTo>
                        <a:lnTo>
                          <a:pt x="272" y="371"/>
                        </a:lnTo>
                        <a:lnTo>
                          <a:pt x="266" y="377"/>
                        </a:lnTo>
                        <a:lnTo>
                          <a:pt x="255" y="392"/>
                        </a:lnTo>
                        <a:lnTo>
                          <a:pt x="244" y="408"/>
                        </a:lnTo>
                        <a:lnTo>
                          <a:pt x="235" y="423"/>
                        </a:lnTo>
                        <a:lnTo>
                          <a:pt x="227" y="437"/>
                        </a:lnTo>
                        <a:lnTo>
                          <a:pt x="197" y="437"/>
                        </a:lnTo>
                        <a:lnTo>
                          <a:pt x="176" y="437"/>
                        </a:lnTo>
                        <a:lnTo>
                          <a:pt x="160" y="437"/>
                        </a:lnTo>
                        <a:lnTo>
                          <a:pt x="150" y="439"/>
                        </a:lnTo>
                        <a:lnTo>
                          <a:pt x="146" y="440"/>
                        </a:lnTo>
                        <a:lnTo>
                          <a:pt x="143" y="442"/>
                        </a:lnTo>
                        <a:lnTo>
                          <a:pt x="139" y="445"/>
                        </a:lnTo>
                        <a:lnTo>
                          <a:pt x="135" y="448"/>
                        </a:lnTo>
                        <a:lnTo>
                          <a:pt x="126" y="456"/>
                        </a:lnTo>
                        <a:lnTo>
                          <a:pt x="114" y="469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8" name="Freeform 248"/>
                  <p:cNvSpPr>
                    <a:spLocks/>
                  </p:cNvSpPr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4485749" y="3152680"/>
                    <a:ext cx="1587187" cy="1306230"/>
                  </a:xfrm>
                  <a:custGeom>
                    <a:avLst/>
                    <a:gdLst>
                      <a:gd name="T0" fmla="*/ 1251111 w 1145"/>
                      <a:gd name="T1" fmla="*/ 70649 h 1053"/>
                      <a:gd name="T2" fmla="*/ 1377332 w 1145"/>
                      <a:gd name="T3" fmla="*/ 81804 h 1053"/>
                      <a:gd name="T4" fmla="*/ 1498004 w 1145"/>
                      <a:gd name="T5" fmla="*/ 100396 h 1053"/>
                      <a:gd name="T6" fmla="*/ 1561808 w 1145"/>
                      <a:gd name="T7" fmla="*/ 216904 h 1053"/>
                      <a:gd name="T8" fmla="*/ 1571518 w 1145"/>
                      <a:gd name="T9" fmla="*/ 261525 h 1053"/>
                      <a:gd name="T10" fmla="*/ 1467489 w 1145"/>
                      <a:gd name="T11" fmla="*/ 337131 h 1053"/>
                      <a:gd name="T12" fmla="*/ 1449458 w 1145"/>
                      <a:gd name="T13" fmla="*/ 446203 h 1053"/>
                      <a:gd name="T14" fmla="*/ 1391202 w 1145"/>
                      <a:gd name="T15" fmla="*/ 545360 h 1053"/>
                      <a:gd name="T16" fmla="*/ 1373170 w 1145"/>
                      <a:gd name="T17" fmla="*/ 589980 h 1053"/>
                      <a:gd name="T18" fmla="*/ 1413395 w 1145"/>
                      <a:gd name="T19" fmla="*/ 713925 h 1053"/>
                      <a:gd name="T20" fmla="*/ 1423104 w 1145"/>
                      <a:gd name="T21" fmla="*/ 822997 h 1053"/>
                      <a:gd name="T22" fmla="*/ 1452232 w 1145"/>
                      <a:gd name="T23" fmla="*/ 906041 h 1053"/>
                      <a:gd name="T24" fmla="*/ 1496617 w 1145"/>
                      <a:gd name="T25" fmla="*/ 948182 h 1053"/>
                      <a:gd name="T26" fmla="*/ 1514649 w 1145"/>
                      <a:gd name="T27" fmla="*/ 1022549 h 1053"/>
                      <a:gd name="T28" fmla="*/ 1442523 w 1145"/>
                      <a:gd name="T29" fmla="*/ 1046099 h 1053"/>
                      <a:gd name="T30" fmla="*/ 1382880 w 1145"/>
                      <a:gd name="T31" fmla="*/ 1060972 h 1053"/>
                      <a:gd name="T32" fmla="*/ 1331559 w 1145"/>
                      <a:gd name="T33" fmla="*/ 1229538 h 1053"/>
                      <a:gd name="T34" fmla="*/ 1289948 w 1145"/>
                      <a:gd name="T35" fmla="*/ 1271680 h 1053"/>
                      <a:gd name="T36" fmla="*/ 1251111 w 1145"/>
                      <a:gd name="T37" fmla="*/ 1277877 h 1053"/>
                      <a:gd name="T38" fmla="*/ 1165114 w 1145"/>
                      <a:gd name="T39" fmla="*/ 1305145 h 1053"/>
                      <a:gd name="T40" fmla="*/ 1084666 w 1145"/>
                      <a:gd name="T41" fmla="*/ 1285314 h 1053"/>
                      <a:gd name="T42" fmla="*/ 1030571 w 1145"/>
                      <a:gd name="T43" fmla="*/ 1256806 h 1053"/>
                      <a:gd name="T44" fmla="*/ 980638 w 1145"/>
                      <a:gd name="T45" fmla="*/ 1235735 h 1053"/>
                      <a:gd name="T46" fmla="*/ 934866 w 1145"/>
                      <a:gd name="T47" fmla="*/ 1222101 h 1053"/>
                      <a:gd name="T48" fmla="*/ 843321 w 1145"/>
                      <a:gd name="T49" fmla="*/ 1223341 h 1053"/>
                      <a:gd name="T50" fmla="*/ 823902 w 1145"/>
                      <a:gd name="T51" fmla="*/ 1167565 h 1053"/>
                      <a:gd name="T52" fmla="*/ 797549 w 1145"/>
                      <a:gd name="T53" fmla="*/ 1095677 h 1053"/>
                      <a:gd name="T54" fmla="*/ 818354 w 1145"/>
                      <a:gd name="T55" fmla="*/ 1048578 h 1053"/>
                      <a:gd name="T56" fmla="*/ 818354 w 1145"/>
                      <a:gd name="T57" fmla="*/ 965534 h 1053"/>
                      <a:gd name="T58" fmla="*/ 629717 w 1145"/>
                      <a:gd name="T59" fmla="*/ 935788 h 1053"/>
                      <a:gd name="T60" fmla="*/ 614459 w 1145"/>
                      <a:gd name="T61" fmla="*/ 972971 h 1053"/>
                      <a:gd name="T62" fmla="*/ 549268 w 1145"/>
                      <a:gd name="T63" fmla="*/ 1012634 h 1053"/>
                      <a:gd name="T64" fmla="*/ 467433 w 1145"/>
                      <a:gd name="T65" fmla="*/ 987845 h 1053"/>
                      <a:gd name="T66" fmla="*/ 411951 w 1145"/>
                      <a:gd name="T67" fmla="*/ 877533 h 1053"/>
                      <a:gd name="T68" fmla="*/ 4161 w 1145"/>
                      <a:gd name="T69" fmla="*/ 831674 h 1053"/>
                      <a:gd name="T70" fmla="*/ 62417 w 1145"/>
                      <a:gd name="T71" fmla="*/ 826716 h 1053"/>
                      <a:gd name="T72" fmla="*/ 36063 w 1145"/>
                      <a:gd name="T73" fmla="*/ 782095 h 1053"/>
                      <a:gd name="T74" fmla="*/ 104028 w 1145"/>
                      <a:gd name="T75" fmla="*/ 762264 h 1053"/>
                      <a:gd name="T76" fmla="*/ 201121 w 1145"/>
                      <a:gd name="T77" fmla="*/ 761025 h 1053"/>
                      <a:gd name="T78" fmla="*/ 253828 w 1145"/>
                      <a:gd name="T79" fmla="*/ 768461 h 1053"/>
                      <a:gd name="T80" fmla="*/ 305149 w 1145"/>
                      <a:gd name="T81" fmla="*/ 711447 h 1053"/>
                      <a:gd name="T82" fmla="*/ 360631 w 1145"/>
                      <a:gd name="T83" fmla="*/ 687897 h 1053"/>
                      <a:gd name="T84" fmla="*/ 389759 w 1145"/>
                      <a:gd name="T85" fmla="*/ 545360 h 1053"/>
                      <a:gd name="T86" fmla="*/ 479916 w 1145"/>
                      <a:gd name="T87" fmla="*/ 458598 h 1053"/>
                      <a:gd name="T88" fmla="*/ 513205 w 1145"/>
                      <a:gd name="T89" fmla="*/ 342089 h 1053"/>
                      <a:gd name="T90" fmla="*/ 515979 w 1145"/>
                      <a:gd name="T91" fmla="*/ 223102 h 1053"/>
                      <a:gd name="T92" fmla="*/ 531237 w 1145"/>
                      <a:gd name="T93" fmla="*/ 151213 h 1053"/>
                      <a:gd name="T94" fmla="*/ 610298 w 1145"/>
                      <a:gd name="T95" fmla="*/ 43381 h 1053"/>
                      <a:gd name="T96" fmla="*/ 681037 w 1145"/>
                      <a:gd name="T97" fmla="*/ 37184 h 1053"/>
                      <a:gd name="T98" fmla="*/ 773969 w 1145"/>
                      <a:gd name="T99" fmla="*/ 95438 h 1053"/>
                      <a:gd name="T100" fmla="*/ 883545 w 1145"/>
                      <a:gd name="T101" fmla="*/ 90480 h 1053"/>
                      <a:gd name="T102" fmla="*/ 929317 w 1145"/>
                      <a:gd name="T103" fmla="*/ 54536 h 1053"/>
                      <a:gd name="T104" fmla="*/ 1018088 w 1145"/>
                      <a:gd name="T105" fmla="*/ 42141 h 1053"/>
                      <a:gd name="T106" fmla="*/ 1102698 w 1145"/>
                      <a:gd name="T107" fmla="*/ 21071 h 1053"/>
                      <a:gd name="T108" fmla="*/ 1148470 w 1145"/>
                      <a:gd name="T109" fmla="*/ 9916 h 1053"/>
                      <a:gd name="T110" fmla="*/ 1191468 w 1145"/>
                      <a:gd name="T111" fmla="*/ 29747 h 1053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1145"/>
                      <a:gd name="T169" fmla="*/ 0 h 1053"/>
                      <a:gd name="T170" fmla="*/ 1145 w 1145"/>
                      <a:gd name="T171" fmla="*/ 1053 h 1053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1145" h="1053">
                        <a:moveTo>
                          <a:pt x="894" y="24"/>
                        </a:moveTo>
                        <a:lnTo>
                          <a:pt x="894" y="32"/>
                        </a:lnTo>
                        <a:lnTo>
                          <a:pt x="895" y="38"/>
                        </a:lnTo>
                        <a:lnTo>
                          <a:pt x="896" y="44"/>
                        </a:lnTo>
                        <a:lnTo>
                          <a:pt x="897" y="49"/>
                        </a:lnTo>
                        <a:lnTo>
                          <a:pt x="900" y="53"/>
                        </a:lnTo>
                        <a:lnTo>
                          <a:pt x="902" y="57"/>
                        </a:lnTo>
                        <a:lnTo>
                          <a:pt x="906" y="61"/>
                        </a:lnTo>
                        <a:lnTo>
                          <a:pt x="909" y="64"/>
                        </a:lnTo>
                        <a:lnTo>
                          <a:pt x="918" y="68"/>
                        </a:lnTo>
                        <a:lnTo>
                          <a:pt x="926" y="71"/>
                        </a:lnTo>
                        <a:lnTo>
                          <a:pt x="936" y="72"/>
                        </a:lnTo>
                        <a:lnTo>
                          <a:pt x="947" y="72"/>
                        </a:lnTo>
                        <a:lnTo>
                          <a:pt x="993" y="66"/>
                        </a:lnTo>
                        <a:lnTo>
                          <a:pt x="1033" y="61"/>
                        </a:lnTo>
                        <a:lnTo>
                          <a:pt x="1038" y="61"/>
                        </a:lnTo>
                        <a:lnTo>
                          <a:pt x="1045" y="63"/>
                        </a:lnTo>
                        <a:lnTo>
                          <a:pt x="1051" y="64"/>
                        </a:lnTo>
                        <a:lnTo>
                          <a:pt x="1057" y="67"/>
                        </a:lnTo>
                        <a:lnTo>
                          <a:pt x="1069" y="73"/>
                        </a:lnTo>
                        <a:lnTo>
                          <a:pt x="1080" y="81"/>
                        </a:lnTo>
                        <a:lnTo>
                          <a:pt x="1099" y="98"/>
                        </a:lnTo>
                        <a:lnTo>
                          <a:pt x="1112" y="110"/>
                        </a:lnTo>
                        <a:lnTo>
                          <a:pt x="1113" y="124"/>
                        </a:lnTo>
                        <a:lnTo>
                          <a:pt x="1114" y="138"/>
                        </a:lnTo>
                        <a:lnTo>
                          <a:pt x="1117" y="152"/>
                        </a:lnTo>
                        <a:lnTo>
                          <a:pt x="1122" y="164"/>
                        </a:lnTo>
                        <a:lnTo>
                          <a:pt x="1126" y="175"/>
                        </a:lnTo>
                        <a:lnTo>
                          <a:pt x="1132" y="183"/>
                        </a:lnTo>
                        <a:lnTo>
                          <a:pt x="1135" y="186"/>
                        </a:lnTo>
                        <a:lnTo>
                          <a:pt x="1138" y="188"/>
                        </a:lnTo>
                        <a:lnTo>
                          <a:pt x="1142" y="190"/>
                        </a:lnTo>
                        <a:lnTo>
                          <a:pt x="1145" y="190"/>
                        </a:lnTo>
                        <a:lnTo>
                          <a:pt x="1139" y="202"/>
                        </a:lnTo>
                        <a:lnTo>
                          <a:pt x="1133" y="211"/>
                        </a:lnTo>
                        <a:lnTo>
                          <a:pt x="1125" y="220"/>
                        </a:lnTo>
                        <a:lnTo>
                          <a:pt x="1117" y="227"/>
                        </a:lnTo>
                        <a:lnTo>
                          <a:pt x="1100" y="240"/>
                        </a:lnTo>
                        <a:lnTo>
                          <a:pt x="1082" y="253"/>
                        </a:lnTo>
                        <a:lnTo>
                          <a:pt x="1074" y="259"/>
                        </a:lnTo>
                        <a:lnTo>
                          <a:pt x="1066" y="266"/>
                        </a:lnTo>
                        <a:lnTo>
                          <a:pt x="1058" y="272"/>
                        </a:lnTo>
                        <a:lnTo>
                          <a:pt x="1052" y="280"/>
                        </a:lnTo>
                        <a:lnTo>
                          <a:pt x="1046" y="288"/>
                        </a:lnTo>
                        <a:lnTo>
                          <a:pt x="1043" y="297"/>
                        </a:lnTo>
                        <a:lnTo>
                          <a:pt x="1040" y="308"/>
                        </a:lnTo>
                        <a:lnTo>
                          <a:pt x="1040" y="320"/>
                        </a:lnTo>
                        <a:lnTo>
                          <a:pt x="1041" y="339"/>
                        </a:lnTo>
                        <a:lnTo>
                          <a:pt x="1045" y="360"/>
                        </a:lnTo>
                        <a:lnTo>
                          <a:pt x="1046" y="371"/>
                        </a:lnTo>
                        <a:lnTo>
                          <a:pt x="1047" y="381"/>
                        </a:lnTo>
                        <a:lnTo>
                          <a:pt x="1047" y="391"/>
                        </a:lnTo>
                        <a:lnTo>
                          <a:pt x="1046" y="400"/>
                        </a:lnTo>
                        <a:lnTo>
                          <a:pt x="1034" y="410"/>
                        </a:lnTo>
                        <a:lnTo>
                          <a:pt x="1013" y="430"/>
                        </a:lnTo>
                        <a:lnTo>
                          <a:pt x="1003" y="440"/>
                        </a:lnTo>
                        <a:lnTo>
                          <a:pt x="995" y="450"/>
                        </a:lnTo>
                        <a:lnTo>
                          <a:pt x="991" y="455"/>
                        </a:lnTo>
                        <a:lnTo>
                          <a:pt x="988" y="460"/>
                        </a:lnTo>
                        <a:lnTo>
                          <a:pt x="987" y="464"/>
                        </a:lnTo>
                        <a:lnTo>
                          <a:pt x="986" y="467"/>
                        </a:lnTo>
                        <a:lnTo>
                          <a:pt x="987" y="470"/>
                        </a:lnTo>
                        <a:lnTo>
                          <a:pt x="990" y="476"/>
                        </a:lnTo>
                        <a:lnTo>
                          <a:pt x="995" y="481"/>
                        </a:lnTo>
                        <a:lnTo>
                          <a:pt x="999" y="486"/>
                        </a:lnTo>
                        <a:lnTo>
                          <a:pt x="1009" y="495"/>
                        </a:lnTo>
                        <a:lnTo>
                          <a:pt x="1012" y="499"/>
                        </a:lnTo>
                        <a:lnTo>
                          <a:pt x="1016" y="524"/>
                        </a:lnTo>
                        <a:lnTo>
                          <a:pt x="1019" y="550"/>
                        </a:lnTo>
                        <a:lnTo>
                          <a:pt x="1019" y="576"/>
                        </a:lnTo>
                        <a:lnTo>
                          <a:pt x="1019" y="610"/>
                        </a:lnTo>
                        <a:lnTo>
                          <a:pt x="1020" y="618"/>
                        </a:lnTo>
                        <a:lnTo>
                          <a:pt x="1022" y="625"/>
                        </a:lnTo>
                        <a:lnTo>
                          <a:pt x="1025" y="632"/>
                        </a:lnTo>
                        <a:lnTo>
                          <a:pt x="1026" y="640"/>
                        </a:lnTo>
                        <a:lnTo>
                          <a:pt x="1026" y="650"/>
                        </a:lnTo>
                        <a:lnTo>
                          <a:pt x="1026" y="664"/>
                        </a:lnTo>
                        <a:lnTo>
                          <a:pt x="1027" y="679"/>
                        </a:lnTo>
                        <a:lnTo>
                          <a:pt x="1031" y="696"/>
                        </a:lnTo>
                        <a:lnTo>
                          <a:pt x="1033" y="705"/>
                        </a:lnTo>
                        <a:lnTo>
                          <a:pt x="1035" y="713"/>
                        </a:lnTo>
                        <a:lnTo>
                          <a:pt x="1038" y="720"/>
                        </a:lnTo>
                        <a:lnTo>
                          <a:pt x="1043" y="726"/>
                        </a:lnTo>
                        <a:lnTo>
                          <a:pt x="1047" y="731"/>
                        </a:lnTo>
                        <a:lnTo>
                          <a:pt x="1053" y="735"/>
                        </a:lnTo>
                        <a:lnTo>
                          <a:pt x="1058" y="738"/>
                        </a:lnTo>
                        <a:lnTo>
                          <a:pt x="1066" y="739"/>
                        </a:lnTo>
                        <a:lnTo>
                          <a:pt x="1067" y="745"/>
                        </a:lnTo>
                        <a:lnTo>
                          <a:pt x="1070" y="751"/>
                        </a:lnTo>
                        <a:lnTo>
                          <a:pt x="1074" y="759"/>
                        </a:lnTo>
                        <a:lnTo>
                          <a:pt x="1079" y="765"/>
                        </a:lnTo>
                        <a:lnTo>
                          <a:pt x="1083" y="772"/>
                        </a:lnTo>
                        <a:lnTo>
                          <a:pt x="1088" y="780"/>
                        </a:lnTo>
                        <a:lnTo>
                          <a:pt x="1091" y="790"/>
                        </a:lnTo>
                        <a:lnTo>
                          <a:pt x="1092" y="800"/>
                        </a:lnTo>
                        <a:lnTo>
                          <a:pt x="1092" y="807"/>
                        </a:lnTo>
                        <a:lnTo>
                          <a:pt x="1092" y="816"/>
                        </a:lnTo>
                        <a:lnTo>
                          <a:pt x="1092" y="825"/>
                        </a:lnTo>
                        <a:lnTo>
                          <a:pt x="1092" y="831"/>
                        </a:lnTo>
                        <a:lnTo>
                          <a:pt x="1092" y="837"/>
                        </a:lnTo>
                        <a:lnTo>
                          <a:pt x="1080" y="836"/>
                        </a:lnTo>
                        <a:lnTo>
                          <a:pt x="1069" y="837"/>
                        </a:lnTo>
                        <a:lnTo>
                          <a:pt x="1059" y="840"/>
                        </a:lnTo>
                        <a:lnTo>
                          <a:pt x="1049" y="842"/>
                        </a:lnTo>
                        <a:lnTo>
                          <a:pt x="1040" y="844"/>
                        </a:lnTo>
                        <a:lnTo>
                          <a:pt x="1029" y="844"/>
                        </a:lnTo>
                        <a:lnTo>
                          <a:pt x="1023" y="844"/>
                        </a:lnTo>
                        <a:lnTo>
                          <a:pt x="1018" y="842"/>
                        </a:lnTo>
                        <a:lnTo>
                          <a:pt x="1012" y="840"/>
                        </a:lnTo>
                        <a:lnTo>
                          <a:pt x="1005" y="837"/>
                        </a:lnTo>
                        <a:lnTo>
                          <a:pt x="1001" y="846"/>
                        </a:lnTo>
                        <a:lnTo>
                          <a:pt x="997" y="856"/>
                        </a:lnTo>
                        <a:lnTo>
                          <a:pt x="993" y="869"/>
                        </a:lnTo>
                        <a:lnTo>
                          <a:pt x="990" y="883"/>
                        </a:lnTo>
                        <a:lnTo>
                          <a:pt x="982" y="914"/>
                        </a:lnTo>
                        <a:lnTo>
                          <a:pt x="975" y="947"/>
                        </a:lnTo>
                        <a:lnTo>
                          <a:pt x="970" y="962"/>
                        </a:lnTo>
                        <a:lnTo>
                          <a:pt x="966" y="978"/>
                        </a:lnTo>
                        <a:lnTo>
                          <a:pt x="960" y="992"/>
                        </a:lnTo>
                        <a:lnTo>
                          <a:pt x="955" y="1004"/>
                        </a:lnTo>
                        <a:lnTo>
                          <a:pt x="951" y="1009"/>
                        </a:lnTo>
                        <a:lnTo>
                          <a:pt x="947" y="1014"/>
                        </a:lnTo>
                        <a:lnTo>
                          <a:pt x="944" y="1018"/>
                        </a:lnTo>
                        <a:lnTo>
                          <a:pt x="940" y="1021"/>
                        </a:lnTo>
                        <a:lnTo>
                          <a:pt x="935" y="1024"/>
                        </a:lnTo>
                        <a:lnTo>
                          <a:pt x="930" y="1026"/>
                        </a:lnTo>
                        <a:lnTo>
                          <a:pt x="925" y="1028"/>
                        </a:lnTo>
                        <a:lnTo>
                          <a:pt x="920" y="1028"/>
                        </a:lnTo>
                        <a:lnTo>
                          <a:pt x="918" y="1029"/>
                        </a:lnTo>
                        <a:lnTo>
                          <a:pt x="912" y="1031"/>
                        </a:lnTo>
                        <a:lnTo>
                          <a:pt x="909" y="1032"/>
                        </a:lnTo>
                        <a:lnTo>
                          <a:pt x="906" y="1032"/>
                        </a:lnTo>
                        <a:lnTo>
                          <a:pt x="902" y="1031"/>
                        </a:lnTo>
                        <a:lnTo>
                          <a:pt x="900" y="1028"/>
                        </a:lnTo>
                        <a:lnTo>
                          <a:pt x="888" y="1035"/>
                        </a:lnTo>
                        <a:lnTo>
                          <a:pt x="873" y="1043"/>
                        </a:lnTo>
                        <a:lnTo>
                          <a:pt x="864" y="1047"/>
                        </a:lnTo>
                        <a:lnTo>
                          <a:pt x="856" y="1050"/>
                        </a:lnTo>
                        <a:lnTo>
                          <a:pt x="847" y="1052"/>
                        </a:lnTo>
                        <a:lnTo>
                          <a:pt x="840" y="1053"/>
                        </a:lnTo>
                        <a:lnTo>
                          <a:pt x="828" y="1053"/>
                        </a:lnTo>
                        <a:lnTo>
                          <a:pt x="816" y="1052"/>
                        </a:lnTo>
                        <a:lnTo>
                          <a:pt x="805" y="1049"/>
                        </a:lnTo>
                        <a:lnTo>
                          <a:pt x="795" y="1046"/>
                        </a:lnTo>
                        <a:lnTo>
                          <a:pt x="789" y="1043"/>
                        </a:lnTo>
                        <a:lnTo>
                          <a:pt x="786" y="1040"/>
                        </a:lnTo>
                        <a:lnTo>
                          <a:pt x="782" y="1037"/>
                        </a:lnTo>
                        <a:lnTo>
                          <a:pt x="779" y="1033"/>
                        </a:lnTo>
                        <a:lnTo>
                          <a:pt x="777" y="1027"/>
                        </a:lnTo>
                        <a:lnTo>
                          <a:pt x="775" y="1022"/>
                        </a:lnTo>
                        <a:lnTo>
                          <a:pt x="774" y="1016"/>
                        </a:lnTo>
                        <a:lnTo>
                          <a:pt x="774" y="1010"/>
                        </a:lnTo>
                        <a:lnTo>
                          <a:pt x="761" y="1011"/>
                        </a:lnTo>
                        <a:lnTo>
                          <a:pt x="743" y="1014"/>
                        </a:lnTo>
                        <a:lnTo>
                          <a:pt x="734" y="1014"/>
                        </a:lnTo>
                        <a:lnTo>
                          <a:pt x="727" y="1012"/>
                        </a:lnTo>
                        <a:lnTo>
                          <a:pt x="723" y="1011"/>
                        </a:lnTo>
                        <a:lnTo>
                          <a:pt x="719" y="1009"/>
                        </a:lnTo>
                        <a:lnTo>
                          <a:pt x="717" y="1007"/>
                        </a:lnTo>
                        <a:lnTo>
                          <a:pt x="713" y="1004"/>
                        </a:lnTo>
                        <a:lnTo>
                          <a:pt x="707" y="997"/>
                        </a:lnTo>
                        <a:lnTo>
                          <a:pt x="701" y="993"/>
                        </a:lnTo>
                        <a:lnTo>
                          <a:pt x="697" y="992"/>
                        </a:lnTo>
                        <a:lnTo>
                          <a:pt x="694" y="992"/>
                        </a:lnTo>
                        <a:lnTo>
                          <a:pt x="689" y="993"/>
                        </a:lnTo>
                        <a:lnTo>
                          <a:pt x="686" y="993"/>
                        </a:lnTo>
                        <a:lnTo>
                          <a:pt x="680" y="991"/>
                        </a:lnTo>
                        <a:lnTo>
                          <a:pt x="674" y="986"/>
                        </a:lnTo>
                        <a:lnTo>
                          <a:pt x="662" y="987"/>
                        </a:lnTo>
                        <a:lnTo>
                          <a:pt x="653" y="989"/>
                        </a:lnTo>
                        <a:lnTo>
                          <a:pt x="643" y="991"/>
                        </a:lnTo>
                        <a:lnTo>
                          <a:pt x="627" y="992"/>
                        </a:lnTo>
                        <a:lnTo>
                          <a:pt x="618" y="991"/>
                        </a:lnTo>
                        <a:lnTo>
                          <a:pt x="611" y="988"/>
                        </a:lnTo>
                        <a:lnTo>
                          <a:pt x="608" y="987"/>
                        </a:lnTo>
                        <a:lnTo>
                          <a:pt x="605" y="984"/>
                        </a:lnTo>
                        <a:lnTo>
                          <a:pt x="603" y="982"/>
                        </a:lnTo>
                        <a:lnTo>
                          <a:pt x="600" y="979"/>
                        </a:lnTo>
                        <a:lnTo>
                          <a:pt x="597" y="971"/>
                        </a:lnTo>
                        <a:lnTo>
                          <a:pt x="596" y="963"/>
                        </a:lnTo>
                        <a:lnTo>
                          <a:pt x="595" y="953"/>
                        </a:lnTo>
                        <a:lnTo>
                          <a:pt x="594" y="942"/>
                        </a:lnTo>
                        <a:lnTo>
                          <a:pt x="593" y="933"/>
                        </a:lnTo>
                        <a:lnTo>
                          <a:pt x="590" y="925"/>
                        </a:lnTo>
                        <a:lnTo>
                          <a:pt x="587" y="916"/>
                        </a:lnTo>
                        <a:lnTo>
                          <a:pt x="584" y="908"/>
                        </a:lnTo>
                        <a:lnTo>
                          <a:pt x="581" y="900"/>
                        </a:lnTo>
                        <a:lnTo>
                          <a:pt x="577" y="892"/>
                        </a:lnTo>
                        <a:lnTo>
                          <a:pt x="575" y="884"/>
                        </a:lnTo>
                        <a:lnTo>
                          <a:pt x="574" y="875"/>
                        </a:lnTo>
                        <a:lnTo>
                          <a:pt x="575" y="870"/>
                        </a:lnTo>
                        <a:lnTo>
                          <a:pt x="577" y="866"/>
                        </a:lnTo>
                        <a:lnTo>
                          <a:pt x="581" y="860"/>
                        </a:lnTo>
                        <a:lnTo>
                          <a:pt x="584" y="856"/>
                        </a:lnTo>
                        <a:lnTo>
                          <a:pt x="587" y="851"/>
                        </a:lnTo>
                        <a:lnTo>
                          <a:pt x="590" y="846"/>
                        </a:lnTo>
                        <a:lnTo>
                          <a:pt x="593" y="842"/>
                        </a:lnTo>
                        <a:lnTo>
                          <a:pt x="594" y="837"/>
                        </a:lnTo>
                        <a:lnTo>
                          <a:pt x="593" y="825"/>
                        </a:lnTo>
                        <a:lnTo>
                          <a:pt x="589" y="809"/>
                        </a:lnTo>
                        <a:lnTo>
                          <a:pt x="588" y="798"/>
                        </a:lnTo>
                        <a:lnTo>
                          <a:pt x="588" y="789"/>
                        </a:lnTo>
                        <a:lnTo>
                          <a:pt x="590" y="779"/>
                        </a:lnTo>
                        <a:lnTo>
                          <a:pt x="594" y="770"/>
                        </a:lnTo>
                        <a:lnTo>
                          <a:pt x="571" y="766"/>
                        </a:lnTo>
                        <a:lnTo>
                          <a:pt x="521" y="759"/>
                        </a:lnTo>
                        <a:lnTo>
                          <a:pt x="494" y="756"/>
                        </a:lnTo>
                        <a:lnTo>
                          <a:pt x="471" y="755"/>
                        </a:lnTo>
                        <a:lnTo>
                          <a:pt x="461" y="754"/>
                        </a:lnTo>
                        <a:lnTo>
                          <a:pt x="454" y="755"/>
                        </a:lnTo>
                        <a:lnTo>
                          <a:pt x="450" y="756"/>
                        </a:lnTo>
                        <a:lnTo>
                          <a:pt x="448" y="758"/>
                        </a:lnTo>
                        <a:lnTo>
                          <a:pt x="448" y="762"/>
                        </a:lnTo>
                        <a:lnTo>
                          <a:pt x="448" y="770"/>
                        </a:lnTo>
                        <a:lnTo>
                          <a:pt x="447" y="775"/>
                        </a:lnTo>
                        <a:lnTo>
                          <a:pt x="446" y="780"/>
                        </a:lnTo>
                        <a:lnTo>
                          <a:pt x="443" y="785"/>
                        </a:lnTo>
                        <a:lnTo>
                          <a:pt x="440" y="790"/>
                        </a:lnTo>
                        <a:lnTo>
                          <a:pt x="437" y="796"/>
                        </a:lnTo>
                        <a:lnTo>
                          <a:pt x="431" y="801"/>
                        </a:lnTo>
                        <a:lnTo>
                          <a:pt x="425" y="806"/>
                        </a:lnTo>
                        <a:lnTo>
                          <a:pt x="417" y="811"/>
                        </a:lnTo>
                        <a:lnTo>
                          <a:pt x="407" y="814"/>
                        </a:lnTo>
                        <a:lnTo>
                          <a:pt x="396" y="817"/>
                        </a:lnTo>
                        <a:lnTo>
                          <a:pt x="383" y="819"/>
                        </a:lnTo>
                        <a:lnTo>
                          <a:pt x="369" y="819"/>
                        </a:lnTo>
                        <a:lnTo>
                          <a:pt x="362" y="818"/>
                        </a:lnTo>
                        <a:lnTo>
                          <a:pt x="355" y="816"/>
                        </a:lnTo>
                        <a:lnTo>
                          <a:pt x="349" y="811"/>
                        </a:lnTo>
                        <a:lnTo>
                          <a:pt x="342" y="804"/>
                        </a:lnTo>
                        <a:lnTo>
                          <a:pt x="337" y="797"/>
                        </a:lnTo>
                        <a:lnTo>
                          <a:pt x="330" y="789"/>
                        </a:lnTo>
                        <a:lnTo>
                          <a:pt x="325" y="780"/>
                        </a:lnTo>
                        <a:lnTo>
                          <a:pt x="319" y="771"/>
                        </a:lnTo>
                        <a:lnTo>
                          <a:pt x="309" y="749"/>
                        </a:lnTo>
                        <a:lnTo>
                          <a:pt x="302" y="728"/>
                        </a:lnTo>
                        <a:lnTo>
                          <a:pt x="298" y="718"/>
                        </a:lnTo>
                        <a:lnTo>
                          <a:pt x="297" y="708"/>
                        </a:lnTo>
                        <a:lnTo>
                          <a:pt x="295" y="699"/>
                        </a:lnTo>
                        <a:lnTo>
                          <a:pt x="295" y="689"/>
                        </a:lnTo>
                        <a:lnTo>
                          <a:pt x="3" y="689"/>
                        </a:lnTo>
                        <a:lnTo>
                          <a:pt x="2" y="683"/>
                        </a:lnTo>
                        <a:lnTo>
                          <a:pt x="0" y="680"/>
                        </a:lnTo>
                        <a:lnTo>
                          <a:pt x="0" y="677"/>
                        </a:lnTo>
                        <a:lnTo>
                          <a:pt x="3" y="671"/>
                        </a:lnTo>
                        <a:lnTo>
                          <a:pt x="10" y="669"/>
                        </a:lnTo>
                        <a:lnTo>
                          <a:pt x="16" y="668"/>
                        </a:lnTo>
                        <a:lnTo>
                          <a:pt x="23" y="668"/>
                        </a:lnTo>
                        <a:lnTo>
                          <a:pt x="28" y="668"/>
                        </a:lnTo>
                        <a:lnTo>
                          <a:pt x="34" y="668"/>
                        </a:lnTo>
                        <a:lnTo>
                          <a:pt x="39" y="668"/>
                        </a:lnTo>
                        <a:lnTo>
                          <a:pt x="45" y="667"/>
                        </a:lnTo>
                        <a:lnTo>
                          <a:pt x="49" y="665"/>
                        </a:lnTo>
                        <a:lnTo>
                          <a:pt x="49" y="640"/>
                        </a:lnTo>
                        <a:lnTo>
                          <a:pt x="36" y="640"/>
                        </a:lnTo>
                        <a:lnTo>
                          <a:pt x="27" y="640"/>
                        </a:lnTo>
                        <a:lnTo>
                          <a:pt x="18" y="640"/>
                        </a:lnTo>
                        <a:lnTo>
                          <a:pt x="10" y="640"/>
                        </a:lnTo>
                        <a:lnTo>
                          <a:pt x="26" y="631"/>
                        </a:lnTo>
                        <a:lnTo>
                          <a:pt x="39" y="622"/>
                        </a:lnTo>
                        <a:lnTo>
                          <a:pt x="46" y="619"/>
                        </a:lnTo>
                        <a:lnTo>
                          <a:pt x="52" y="615"/>
                        </a:lnTo>
                        <a:lnTo>
                          <a:pt x="60" y="612"/>
                        </a:lnTo>
                        <a:lnTo>
                          <a:pt x="69" y="610"/>
                        </a:lnTo>
                        <a:lnTo>
                          <a:pt x="72" y="613"/>
                        </a:lnTo>
                        <a:lnTo>
                          <a:pt x="75" y="615"/>
                        </a:lnTo>
                        <a:lnTo>
                          <a:pt x="79" y="616"/>
                        </a:lnTo>
                        <a:lnTo>
                          <a:pt x="82" y="617"/>
                        </a:lnTo>
                        <a:lnTo>
                          <a:pt x="91" y="618"/>
                        </a:lnTo>
                        <a:lnTo>
                          <a:pt x="101" y="616"/>
                        </a:lnTo>
                        <a:lnTo>
                          <a:pt x="122" y="612"/>
                        </a:lnTo>
                        <a:lnTo>
                          <a:pt x="142" y="610"/>
                        </a:lnTo>
                        <a:lnTo>
                          <a:pt x="145" y="614"/>
                        </a:lnTo>
                        <a:lnTo>
                          <a:pt x="148" y="617"/>
                        </a:lnTo>
                        <a:lnTo>
                          <a:pt x="152" y="619"/>
                        </a:lnTo>
                        <a:lnTo>
                          <a:pt x="157" y="620"/>
                        </a:lnTo>
                        <a:lnTo>
                          <a:pt x="166" y="621"/>
                        </a:lnTo>
                        <a:lnTo>
                          <a:pt x="175" y="622"/>
                        </a:lnTo>
                        <a:lnTo>
                          <a:pt x="179" y="621"/>
                        </a:lnTo>
                        <a:lnTo>
                          <a:pt x="183" y="620"/>
                        </a:lnTo>
                        <a:lnTo>
                          <a:pt x="186" y="618"/>
                        </a:lnTo>
                        <a:lnTo>
                          <a:pt x="190" y="616"/>
                        </a:lnTo>
                        <a:lnTo>
                          <a:pt x="195" y="610"/>
                        </a:lnTo>
                        <a:lnTo>
                          <a:pt x="201" y="603"/>
                        </a:lnTo>
                        <a:lnTo>
                          <a:pt x="209" y="588"/>
                        </a:lnTo>
                        <a:lnTo>
                          <a:pt x="215" y="578"/>
                        </a:lnTo>
                        <a:lnTo>
                          <a:pt x="220" y="574"/>
                        </a:lnTo>
                        <a:lnTo>
                          <a:pt x="225" y="571"/>
                        </a:lnTo>
                        <a:lnTo>
                          <a:pt x="230" y="569"/>
                        </a:lnTo>
                        <a:lnTo>
                          <a:pt x="236" y="567"/>
                        </a:lnTo>
                        <a:lnTo>
                          <a:pt x="246" y="564"/>
                        </a:lnTo>
                        <a:lnTo>
                          <a:pt x="256" y="560"/>
                        </a:lnTo>
                        <a:lnTo>
                          <a:pt x="258" y="558"/>
                        </a:lnTo>
                        <a:lnTo>
                          <a:pt x="260" y="555"/>
                        </a:lnTo>
                        <a:lnTo>
                          <a:pt x="262" y="550"/>
                        </a:lnTo>
                        <a:lnTo>
                          <a:pt x="264" y="544"/>
                        </a:lnTo>
                        <a:lnTo>
                          <a:pt x="268" y="528"/>
                        </a:lnTo>
                        <a:lnTo>
                          <a:pt x="270" y="511"/>
                        </a:lnTo>
                        <a:lnTo>
                          <a:pt x="274" y="477"/>
                        </a:lnTo>
                        <a:lnTo>
                          <a:pt x="275" y="449"/>
                        </a:lnTo>
                        <a:lnTo>
                          <a:pt x="281" y="440"/>
                        </a:lnTo>
                        <a:lnTo>
                          <a:pt x="287" y="432"/>
                        </a:lnTo>
                        <a:lnTo>
                          <a:pt x="294" y="425"/>
                        </a:lnTo>
                        <a:lnTo>
                          <a:pt x="302" y="416"/>
                        </a:lnTo>
                        <a:lnTo>
                          <a:pt x="316" y="404"/>
                        </a:lnTo>
                        <a:lnTo>
                          <a:pt x="328" y="394"/>
                        </a:lnTo>
                        <a:lnTo>
                          <a:pt x="338" y="382"/>
                        </a:lnTo>
                        <a:lnTo>
                          <a:pt x="346" y="370"/>
                        </a:lnTo>
                        <a:lnTo>
                          <a:pt x="352" y="357"/>
                        </a:lnTo>
                        <a:lnTo>
                          <a:pt x="357" y="345"/>
                        </a:lnTo>
                        <a:lnTo>
                          <a:pt x="361" y="334"/>
                        </a:lnTo>
                        <a:lnTo>
                          <a:pt x="364" y="323"/>
                        </a:lnTo>
                        <a:lnTo>
                          <a:pt x="366" y="312"/>
                        </a:lnTo>
                        <a:lnTo>
                          <a:pt x="369" y="299"/>
                        </a:lnTo>
                        <a:lnTo>
                          <a:pt x="370" y="276"/>
                        </a:lnTo>
                        <a:lnTo>
                          <a:pt x="370" y="251"/>
                        </a:lnTo>
                        <a:lnTo>
                          <a:pt x="369" y="225"/>
                        </a:lnTo>
                        <a:lnTo>
                          <a:pt x="369" y="197"/>
                        </a:lnTo>
                        <a:lnTo>
                          <a:pt x="369" y="191"/>
                        </a:lnTo>
                        <a:lnTo>
                          <a:pt x="369" y="187"/>
                        </a:lnTo>
                        <a:lnTo>
                          <a:pt x="371" y="183"/>
                        </a:lnTo>
                        <a:lnTo>
                          <a:pt x="372" y="180"/>
                        </a:lnTo>
                        <a:lnTo>
                          <a:pt x="375" y="174"/>
                        </a:lnTo>
                        <a:lnTo>
                          <a:pt x="380" y="167"/>
                        </a:lnTo>
                        <a:lnTo>
                          <a:pt x="383" y="160"/>
                        </a:lnTo>
                        <a:lnTo>
                          <a:pt x="385" y="149"/>
                        </a:lnTo>
                        <a:lnTo>
                          <a:pt x="385" y="140"/>
                        </a:lnTo>
                        <a:lnTo>
                          <a:pt x="385" y="132"/>
                        </a:lnTo>
                        <a:lnTo>
                          <a:pt x="383" y="122"/>
                        </a:lnTo>
                        <a:lnTo>
                          <a:pt x="382" y="110"/>
                        </a:lnTo>
                        <a:lnTo>
                          <a:pt x="397" y="87"/>
                        </a:lnTo>
                        <a:lnTo>
                          <a:pt x="417" y="58"/>
                        </a:lnTo>
                        <a:lnTo>
                          <a:pt x="422" y="51"/>
                        </a:lnTo>
                        <a:lnTo>
                          <a:pt x="428" y="45"/>
                        </a:lnTo>
                        <a:lnTo>
                          <a:pt x="435" y="40"/>
                        </a:lnTo>
                        <a:lnTo>
                          <a:pt x="440" y="35"/>
                        </a:lnTo>
                        <a:lnTo>
                          <a:pt x="447" y="31"/>
                        </a:lnTo>
                        <a:lnTo>
                          <a:pt x="453" y="26"/>
                        </a:lnTo>
                        <a:lnTo>
                          <a:pt x="461" y="24"/>
                        </a:lnTo>
                        <a:lnTo>
                          <a:pt x="467" y="24"/>
                        </a:lnTo>
                        <a:lnTo>
                          <a:pt x="476" y="24"/>
                        </a:lnTo>
                        <a:lnTo>
                          <a:pt x="484" y="26"/>
                        </a:lnTo>
                        <a:lnTo>
                          <a:pt x="491" y="30"/>
                        </a:lnTo>
                        <a:lnTo>
                          <a:pt x="497" y="33"/>
                        </a:lnTo>
                        <a:lnTo>
                          <a:pt x="509" y="42"/>
                        </a:lnTo>
                        <a:lnTo>
                          <a:pt x="521" y="52"/>
                        </a:lnTo>
                        <a:lnTo>
                          <a:pt x="532" y="62"/>
                        </a:lnTo>
                        <a:lnTo>
                          <a:pt x="544" y="71"/>
                        </a:lnTo>
                        <a:lnTo>
                          <a:pt x="551" y="74"/>
                        </a:lnTo>
                        <a:lnTo>
                          <a:pt x="558" y="77"/>
                        </a:lnTo>
                        <a:lnTo>
                          <a:pt x="565" y="79"/>
                        </a:lnTo>
                        <a:lnTo>
                          <a:pt x="574" y="79"/>
                        </a:lnTo>
                        <a:lnTo>
                          <a:pt x="587" y="78"/>
                        </a:lnTo>
                        <a:lnTo>
                          <a:pt x="599" y="76"/>
                        </a:lnTo>
                        <a:lnTo>
                          <a:pt x="614" y="74"/>
                        </a:lnTo>
                        <a:lnTo>
                          <a:pt x="634" y="73"/>
                        </a:lnTo>
                        <a:lnTo>
                          <a:pt x="637" y="73"/>
                        </a:lnTo>
                        <a:lnTo>
                          <a:pt x="639" y="71"/>
                        </a:lnTo>
                        <a:lnTo>
                          <a:pt x="641" y="69"/>
                        </a:lnTo>
                        <a:lnTo>
                          <a:pt x="644" y="66"/>
                        </a:lnTo>
                        <a:lnTo>
                          <a:pt x="649" y="60"/>
                        </a:lnTo>
                        <a:lnTo>
                          <a:pt x="654" y="55"/>
                        </a:lnTo>
                        <a:lnTo>
                          <a:pt x="662" y="49"/>
                        </a:lnTo>
                        <a:lnTo>
                          <a:pt x="670" y="44"/>
                        </a:lnTo>
                        <a:lnTo>
                          <a:pt x="677" y="40"/>
                        </a:lnTo>
                        <a:lnTo>
                          <a:pt x="685" y="38"/>
                        </a:lnTo>
                        <a:lnTo>
                          <a:pt x="693" y="36"/>
                        </a:lnTo>
                        <a:lnTo>
                          <a:pt x="701" y="35"/>
                        </a:lnTo>
                        <a:lnTo>
                          <a:pt x="709" y="34"/>
                        </a:lnTo>
                        <a:lnTo>
                          <a:pt x="718" y="34"/>
                        </a:lnTo>
                        <a:lnTo>
                          <a:pt x="734" y="34"/>
                        </a:lnTo>
                        <a:lnTo>
                          <a:pt x="752" y="35"/>
                        </a:lnTo>
                        <a:lnTo>
                          <a:pt x="761" y="34"/>
                        </a:lnTo>
                        <a:lnTo>
                          <a:pt x="769" y="34"/>
                        </a:lnTo>
                        <a:lnTo>
                          <a:pt x="778" y="33"/>
                        </a:lnTo>
                        <a:lnTo>
                          <a:pt x="787" y="31"/>
                        </a:lnTo>
                        <a:lnTo>
                          <a:pt x="790" y="24"/>
                        </a:lnTo>
                        <a:lnTo>
                          <a:pt x="795" y="17"/>
                        </a:lnTo>
                        <a:lnTo>
                          <a:pt x="796" y="13"/>
                        </a:lnTo>
                        <a:lnTo>
                          <a:pt x="799" y="9"/>
                        </a:lnTo>
                        <a:lnTo>
                          <a:pt x="802" y="4"/>
                        </a:lnTo>
                        <a:lnTo>
                          <a:pt x="807" y="0"/>
                        </a:lnTo>
                        <a:lnTo>
                          <a:pt x="814" y="0"/>
                        </a:lnTo>
                        <a:lnTo>
                          <a:pt x="827" y="0"/>
                        </a:lnTo>
                        <a:lnTo>
                          <a:pt x="828" y="8"/>
                        </a:lnTo>
                        <a:lnTo>
                          <a:pt x="830" y="14"/>
                        </a:lnTo>
                        <a:lnTo>
                          <a:pt x="833" y="18"/>
                        </a:lnTo>
                        <a:lnTo>
                          <a:pt x="839" y="21"/>
                        </a:lnTo>
                        <a:lnTo>
                          <a:pt x="843" y="22"/>
                        </a:lnTo>
                        <a:lnTo>
                          <a:pt x="848" y="23"/>
                        </a:lnTo>
                        <a:lnTo>
                          <a:pt x="854" y="24"/>
                        </a:lnTo>
                        <a:lnTo>
                          <a:pt x="859" y="24"/>
                        </a:lnTo>
                        <a:lnTo>
                          <a:pt x="869" y="24"/>
                        </a:lnTo>
                        <a:lnTo>
                          <a:pt x="879" y="24"/>
                        </a:lnTo>
                        <a:lnTo>
                          <a:pt x="887" y="24"/>
                        </a:lnTo>
                        <a:lnTo>
                          <a:pt x="894" y="24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59" name="Freeform 249"/>
                  <p:cNvSpPr>
                    <a:spLocks/>
                  </p:cNvSpPr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4285005" y="3390176"/>
                    <a:ext cx="174479" cy="130135"/>
                  </a:xfrm>
                  <a:custGeom>
                    <a:avLst/>
                    <a:gdLst>
                      <a:gd name="T0" fmla="*/ 169403 w 125"/>
                      <a:gd name="T1" fmla="*/ 0 h 81"/>
                      <a:gd name="T2" fmla="*/ 170814 w 125"/>
                      <a:gd name="T3" fmla="*/ 43755 h 81"/>
                      <a:gd name="T4" fmla="*/ 175049 w 125"/>
                      <a:gd name="T5" fmla="*/ 74546 h 81"/>
                      <a:gd name="T6" fmla="*/ 176461 w 125"/>
                      <a:gd name="T7" fmla="*/ 85890 h 81"/>
                      <a:gd name="T8" fmla="*/ 176461 w 125"/>
                      <a:gd name="T9" fmla="*/ 95613 h 81"/>
                      <a:gd name="T10" fmla="*/ 176461 w 125"/>
                      <a:gd name="T11" fmla="*/ 105337 h 81"/>
                      <a:gd name="T12" fmla="*/ 173638 w 125"/>
                      <a:gd name="T13" fmla="*/ 111819 h 81"/>
                      <a:gd name="T14" fmla="*/ 167991 w 125"/>
                      <a:gd name="T15" fmla="*/ 116681 h 81"/>
                      <a:gd name="T16" fmla="*/ 158109 w 125"/>
                      <a:gd name="T17" fmla="*/ 119922 h 81"/>
                      <a:gd name="T18" fmla="*/ 145404 w 125"/>
                      <a:gd name="T19" fmla="*/ 123163 h 81"/>
                      <a:gd name="T20" fmla="*/ 128464 w 125"/>
                      <a:gd name="T21" fmla="*/ 124784 h 81"/>
                      <a:gd name="T22" fmla="*/ 80466 w 125"/>
                      <a:gd name="T23" fmla="*/ 128025 h 81"/>
                      <a:gd name="T24" fmla="*/ 9882 w 125"/>
                      <a:gd name="T25" fmla="*/ 131266 h 81"/>
                      <a:gd name="T26" fmla="*/ 7058 w 125"/>
                      <a:gd name="T27" fmla="*/ 128025 h 81"/>
                      <a:gd name="T28" fmla="*/ 4235 w 125"/>
                      <a:gd name="T29" fmla="*/ 116681 h 81"/>
                      <a:gd name="T30" fmla="*/ 1412 w 125"/>
                      <a:gd name="T31" fmla="*/ 95613 h 81"/>
                      <a:gd name="T32" fmla="*/ 0 w 125"/>
                      <a:gd name="T33" fmla="*/ 69684 h 81"/>
                      <a:gd name="T34" fmla="*/ 0 w 125"/>
                      <a:gd name="T35" fmla="*/ 59961 h 81"/>
                      <a:gd name="T36" fmla="*/ 1412 w 125"/>
                      <a:gd name="T37" fmla="*/ 50238 h 81"/>
                      <a:gd name="T38" fmla="*/ 2823 w 125"/>
                      <a:gd name="T39" fmla="*/ 40514 h 81"/>
                      <a:gd name="T40" fmla="*/ 5647 w 125"/>
                      <a:gd name="T41" fmla="*/ 32411 h 81"/>
                      <a:gd name="T42" fmla="*/ 11294 w 125"/>
                      <a:gd name="T43" fmla="*/ 24309 h 81"/>
                      <a:gd name="T44" fmla="*/ 15529 w 125"/>
                      <a:gd name="T45" fmla="*/ 16206 h 81"/>
                      <a:gd name="T46" fmla="*/ 19764 w 125"/>
                      <a:gd name="T47" fmla="*/ 8103 h 81"/>
                      <a:gd name="T48" fmla="*/ 28234 w 125"/>
                      <a:gd name="T49" fmla="*/ 0 h 81"/>
                      <a:gd name="T50" fmla="*/ 169403 w 125"/>
                      <a:gd name="T51" fmla="*/ 0 h 81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125"/>
                      <a:gd name="T79" fmla="*/ 0 h 81"/>
                      <a:gd name="T80" fmla="*/ 125 w 125"/>
                      <a:gd name="T81" fmla="*/ 81 h 81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125" h="81">
                        <a:moveTo>
                          <a:pt x="120" y="0"/>
                        </a:moveTo>
                        <a:lnTo>
                          <a:pt x="121" y="27"/>
                        </a:lnTo>
                        <a:lnTo>
                          <a:pt x="124" y="46"/>
                        </a:lnTo>
                        <a:lnTo>
                          <a:pt x="125" y="53"/>
                        </a:lnTo>
                        <a:lnTo>
                          <a:pt x="125" y="59"/>
                        </a:lnTo>
                        <a:lnTo>
                          <a:pt x="125" y="65"/>
                        </a:lnTo>
                        <a:lnTo>
                          <a:pt x="123" y="69"/>
                        </a:lnTo>
                        <a:lnTo>
                          <a:pt x="119" y="72"/>
                        </a:lnTo>
                        <a:lnTo>
                          <a:pt x="112" y="74"/>
                        </a:lnTo>
                        <a:lnTo>
                          <a:pt x="103" y="76"/>
                        </a:lnTo>
                        <a:lnTo>
                          <a:pt x="91" y="77"/>
                        </a:lnTo>
                        <a:lnTo>
                          <a:pt x="57" y="79"/>
                        </a:lnTo>
                        <a:lnTo>
                          <a:pt x="7" y="81"/>
                        </a:lnTo>
                        <a:lnTo>
                          <a:pt x="5" y="79"/>
                        </a:lnTo>
                        <a:lnTo>
                          <a:pt x="3" y="72"/>
                        </a:lnTo>
                        <a:lnTo>
                          <a:pt x="1" y="59"/>
                        </a:lnTo>
                        <a:lnTo>
                          <a:pt x="0" y="43"/>
                        </a:lnTo>
                        <a:lnTo>
                          <a:pt x="0" y="37"/>
                        </a:lnTo>
                        <a:lnTo>
                          <a:pt x="1" y="31"/>
                        </a:lnTo>
                        <a:lnTo>
                          <a:pt x="2" y="25"/>
                        </a:lnTo>
                        <a:lnTo>
                          <a:pt x="4" y="20"/>
                        </a:lnTo>
                        <a:lnTo>
                          <a:pt x="8" y="15"/>
                        </a:lnTo>
                        <a:lnTo>
                          <a:pt x="11" y="10"/>
                        </a:lnTo>
                        <a:lnTo>
                          <a:pt x="14" y="5"/>
                        </a:lnTo>
                        <a:lnTo>
                          <a:pt x="20" y="0"/>
                        </a:lnTo>
                        <a:lnTo>
                          <a:pt x="120" y="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61" name="Freeform 250"/>
                  <p:cNvSpPr>
                    <a:spLocks/>
                  </p:cNvSpPr>
                  <p:nvPr>
                    <p:custDataLst>
                      <p:tags r:id="rId13"/>
                    </p:custDataLst>
                  </p:nvPr>
                </p:nvSpPr>
                <p:spPr bwMode="auto">
                  <a:xfrm>
                    <a:off x="4226846" y="3390176"/>
                    <a:ext cx="485911" cy="476620"/>
                  </a:xfrm>
                  <a:custGeom>
                    <a:avLst/>
                    <a:gdLst>
                      <a:gd name="T0" fmla="*/ 357215 w 355"/>
                      <a:gd name="T1" fmla="*/ 18414 h 388"/>
                      <a:gd name="T2" fmla="*/ 350397 w 355"/>
                      <a:gd name="T3" fmla="*/ 45421 h 388"/>
                      <a:gd name="T4" fmla="*/ 359941 w 355"/>
                      <a:gd name="T5" fmla="*/ 62607 h 388"/>
                      <a:gd name="T6" fmla="*/ 385846 w 355"/>
                      <a:gd name="T7" fmla="*/ 73655 h 388"/>
                      <a:gd name="T8" fmla="*/ 434929 w 355"/>
                      <a:gd name="T9" fmla="*/ 67517 h 388"/>
                      <a:gd name="T10" fmla="*/ 452653 w 355"/>
                      <a:gd name="T11" fmla="*/ 69972 h 388"/>
                      <a:gd name="T12" fmla="*/ 463561 w 355"/>
                      <a:gd name="T13" fmla="*/ 83476 h 388"/>
                      <a:gd name="T14" fmla="*/ 470378 w 355"/>
                      <a:gd name="T15" fmla="*/ 101890 h 388"/>
                      <a:gd name="T16" fmla="*/ 478558 w 355"/>
                      <a:gd name="T17" fmla="*/ 115393 h 388"/>
                      <a:gd name="T18" fmla="*/ 470378 w 355"/>
                      <a:gd name="T19" fmla="*/ 132579 h 388"/>
                      <a:gd name="T20" fmla="*/ 436293 w 355"/>
                      <a:gd name="T21" fmla="*/ 166952 h 388"/>
                      <a:gd name="T22" fmla="*/ 474468 w 355"/>
                      <a:gd name="T23" fmla="*/ 214828 h 388"/>
                      <a:gd name="T24" fmla="*/ 484012 w 355"/>
                      <a:gd name="T25" fmla="*/ 247973 h 388"/>
                      <a:gd name="T26" fmla="*/ 481285 w 355"/>
                      <a:gd name="T27" fmla="*/ 268842 h 388"/>
                      <a:gd name="T28" fmla="*/ 470378 w 355"/>
                      <a:gd name="T29" fmla="*/ 311807 h 388"/>
                      <a:gd name="T30" fmla="*/ 454017 w 355"/>
                      <a:gd name="T31" fmla="*/ 332676 h 388"/>
                      <a:gd name="T32" fmla="*/ 425385 w 355"/>
                      <a:gd name="T33" fmla="*/ 343725 h 388"/>
                      <a:gd name="T34" fmla="*/ 389936 w 355"/>
                      <a:gd name="T35" fmla="*/ 346180 h 388"/>
                      <a:gd name="T36" fmla="*/ 368122 w 355"/>
                      <a:gd name="T37" fmla="*/ 346180 h 388"/>
                      <a:gd name="T38" fmla="*/ 343580 w 355"/>
                      <a:gd name="T39" fmla="*/ 325311 h 388"/>
                      <a:gd name="T40" fmla="*/ 327219 w 355"/>
                      <a:gd name="T41" fmla="*/ 317945 h 388"/>
                      <a:gd name="T42" fmla="*/ 301314 w 355"/>
                      <a:gd name="T43" fmla="*/ 330221 h 388"/>
                      <a:gd name="T44" fmla="*/ 279500 w 355"/>
                      <a:gd name="T45" fmla="*/ 342497 h 388"/>
                      <a:gd name="T46" fmla="*/ 264502 w 355"/>
                      <a:gd name="T47" fmla="*/ 349863 h 388"/>
                      <a:gd name="T48" fmla="*/ 252232 w 355"/>
                      <a:gd name="T49" fmla="*/ 365821 h 388"/>
                      <a:gd name="T50" fmla="*/ 254958 w 355"/>
                      <a:gd name="T51" fmla="*/ 394056 h 388"/>
                      <a:gd name="T52" fmla="*/ 282227 w 355"/>
                      <a:gd name="T53" fmla="*/ 439476 h 388"/>
                      <a:gd name="T54" fmla="*/ 265866 w 355"/>
                      <a:gd name="T55" fmla="*/ 433338 h 388"/>
                      <a:gd name="T56" fmla="*/ 241324 w 355"/>
                      <a:gd name="T57" fmla="*/ 435794 h 388"/>
                      <a:gd name="T58" fmla="*/ 220873 w 355"/>
                      <a:gd name="T59" fmla="*/ 448069 h 388"/>
                      <a:gd name="T60" fmla="*/ 199058 w 355"/>
                      <a:gd name="T61" fmla="*/ 476304 h 388"/>
                      <a:gd name="T62" fmla="*/ 167700 w 355"/>
                      <a:gd name="T63" fmla="*/ 454207 h 388"/>
                      <a:gd name="T64" fmla="*/ 154066 w 355"/>
                      <a:gd name="T65" fmla="*/ 439476 h 388"/>
                      <a:gd name="T66" fmla="*/ 130888 w 355"/>
                      <a:gd name="T67" fmla="*/ 397738 h 388"/>
                      <a:gd name="T68" fmla="*/ 68171 w 355"/>
                      <a:gd name="T69" fmla="*/ 343725 h 388"/>
                      <a:gd name="T70" fmla="*/ 29995 w 355"/>
                      <a:gd name="T71" fmla="*/ 311807 h 388"/>
                      <a:gd name="T72" fmla="*/ 6817 w 355"/>
                      <a:gd name="T73" fmla="*/ 273752 h 388"/>
                      <a:gd name="T74" fmla="*/ 1363 w 355"/>
                      <a:gd name="T75" fmla="*/ 229559 h 388"/>
                      <a:gd name="T76" fmla="*/ 14998 w 355"/>
                      <a:gd name="T77" fmla="*/ 198869 h 388"/>
                      <a:gd name="T78" fmla="*/ 55900 w 355"/>
                      <a:gd name="T79" fmla="*/ 164497 h 388"/>
                      <a:gd name="T80" fmla="*/ 73624 w 355"/>
                      <a:gd name="T81" fmla="*/ 142400 h 388"/>
                      <a:gd name="T82" fmla="*/ 76351 w 355"/>
                      <a:gd name="T83" fmla="*/ 111710 h 388"/>
                      <a:gd name="T84" fmla="*/ 147249 w 355"/>
                      <a:gd name="T85" fmla="*/ 101890 h 388"/>
                      <a:gd name="T86" fmla="*/ 212693 w 355"/>
                      <a:gd name="T87" fmla="*/ 98207 h 388"/>
                      <a:gd name="T88" fmla="*/ 234507 w 355"/>
                      <a:gd name="T89" fmla="*/ 89614 h 388"/>
                      <a:gd name="T90" fmla="*/ 241324 w 355"/>
                      <a:gd name="T91" fmla="*/ 77338 h 388"/>
                      <a:gd name="T92" fmla="*/ 237234 w 355"/>
                      <a:gd name="T93" fmla="*/ 50331 h 388"/>
                      <a:gd name="T94" fmla="*/ 227690 w 355"/>
                      <a:gd name="T95" fmla="*/ 14731 h 388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5"/>
                      <a:gd name="T145" fmla="*/ 0 h 388"/>
                      <a:gd name="T146" fmla="*/ 355 w 355"/>
                      <a:gd name="T147" fmla="*/ 388 h 388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5" h="388">
                        <a:moveTo>
                          <a:pt x="266" y="7"/>
                        </a:moveTo>
                        <a:lnTo>
                          <a:pt x="265" y="9"/>
                        </a:lnTo>
                        <a:lnTo>
                          <a:pt x="262" y="15"/>
                        </a:lnTo>
                        <a:lnTo>
                          <a:pt x="259" y="23"/>
                        </a:lnTo>
                        <a:lnTo>
                          <a:pt x="257" y="32"/>
                        </a:lnTo>
                        <a:lnTo>
                          <a:pt x="257" y="37"/>
                        </a:lnTo>
                        <a:lnTo>
                          <a:pt x="258" y="42"/>
                        </a:lnTo>
                        <a:lnTo>
                          <a:pt x="261" y="46"/>
                        </a:lnTo>
                        <a:lnTo>
                          <a:pt x="264" y="51"/>
                        </a:lnTo>
                        <a:lnTo>
                          <a:pt x="268" y="54"/>
                        </a:lnTo>
                        <a:lnTo>
                          <a:pt x="275" y="58"/>
                        </a:lnTo>
                        <a:lnTo>
                          <a:pt x="283" y="60"/>
                        </a:lnTo>
                        <a:lnTo>
                          <a:pt x="294" y="63"/>
                        </a:lnTo>
                        <a:lnTo>
                          <a:pt x="301" y="58"/>
                        </a:lnTo>
                        <a:lnTo>
                          <a:pt x="319" y="55"/>
                        </a:lnTo>
                        <a:lnTo>
                          <a:pt x="323" y="55"/>
                        </a:lnTo>
                        <a:lnTo>
                          <a:pt x="328" y="55"/>
                        </a:lnTo>
                        <a:lnTo>
                          <a:pt x="332" y="57"/>
                        </a:lnTo>
                        <a:lnTo>
                          <a:pt x="335" y="59"/>
                        </a:lnTo>
                        <a:lnTo>
                          <a:pt x="337" y="63"/>
                        </a:lnTo>
                        <a:lnTo>
                          <a:pt x="340" y="68"/>
                        </a:lnTo>
                        <a:lnTo>
                          <a:pt x="340" y="74"/>
                        </a:lnTo>
                        <a:lnTo>
                          <a:pt x="340" y="81"/>
                        </a:lnTo>
                        <a:lnTo>
                          <a:pt x="345" y="83"/>
                        </a:lnTo>
                        <a:lnTo>
                          <a:pt x="348" y="87"/>
                        </a:lnTo>
                        <a:lnTo>
                          <a:pt x="350" y="90"/>
                        </a:lnTo>
                        <a:lnTo>
                          <a:pt x="351" y="94"/>
                        </a:lnTo>
                        <a:lnTo>
                          <a:pt x="350" y="99"/>
                        </a:lnTo>
                        <a:lnTo>
                          <a:pt x="347" y="103"/>
                        </a:lnTo>
                        <a:lnTo>
                          <a:pt x="345" y="108"/>
                        </a:lnTo>
                        <a:lnTo>
                          <a:pt x="342" y="113"/>
                        </a:lnTo>
                        <a:lnTo>
                          <a:pt x="328" y="129"/>
                        </a:lnTo>
                        <a:lnTo>
                          <a:pt x="320" y="136"/>
                        </a:lnTo>
                        <a:lnTo>
                          <a:pt x="326" y="143"/>
                        </a:lnTo>
                        <a:lnTo>
                          <a:pt x="341" y="162"/>
                        </a:lnTo>
                        <a:lnTo>
                          <a:pt x="348" y="175"/>
                        </a:lnTo>
                        <a:lnTo>
                          <a:pt x="353" y="188"/>
                        </a:lnTo>
                        <a:lnTo>
                          <a:pt x="355" y="195"/>
                        </a:lnTo>
                        <a:lnTo>
                          <a:pt x="355" y="202"/>
                        </a:lnTo>
                        <a:lnTo>
                          <a:pt x="355" y="209"/>
                        </a:lnTo>
                        <a:lnTo>
                          <a:pt x="353" y="216"/>
                        </a:lnTo>
                        <a:lnTo>
                          <a:pt x="353" y="219"/>
                        </a:lnTo>
                        <a:lnTo>
                          <a:pt x="352" y="228"/>
                        </a:lnTo>
                        <a:lnTo>
                          <a:pt x="350" y="241"/>
                        </a:lnTo>
                        <a:lnTo>
                          <a:pt x="345" y="254"/>
                        </a:lnTo>
                        <a:lnTo>
                          <a:pt x="342" y="260"/>
                        </a:lnTo>
                        <a:lnTo>
                          <a:pt x="339" y="266"/>
                        </a:lnTo>
                        <a:lnTo>
                          <a:pt x="333" y="271"/>
                        </a:lnTo>
                        <a:lnTo>
                          <a:pt x="328" y="276"/>
                        </a:lnTo>
                        <a:lnTo>
                          <a:pt x="321" y="279"/>
                        </a:lnTo>
                        <a:lnTo>
                          <a:pt x="312" y="280"/>
                        </a:lnTo>
                        <a:lnTo>
                          <a:pt x="303" y="280"/>
                        </a:lnTo>
                        <a:lnTo>
                          <a:pt x="294" y="277"/>
                        </a:lnTo>
                        <a:lnTo>
                          <a:pt x="286" y="282"/>
                        </a:lnTo>
                        <a:lnTo>
                          <a:pt x="280" y="285"/>
                        </a:lnTo>
                        <a:lnTo>
                          <a:pt x="275" y="285"/>
                        </a:lnTo>
                        <a:lnTo>
                          <a:pt x="270" y="282"/>
                        </a:lnTo>
                        <a:lnTo>
                          <a:pt x="263" y="276"/>
                        </a:lnTo>
                        <a:lnTo>
                          <a:pt x="255" y="268"/>
                        </a:lnTo>
                        <a:lnTo>
                          <a:pt x="252" y="265"/>
                        </a:lnTo>
                        <a:lnTo>
                          <a:pt x="249" y="261"/>
                        </a:lnTo>
                        <a:lnTo>
                          <a:pt x="244" y="259"/>
                        </a:lnTo>
                        <a:lnTo>
                          <a:pt x="240" y="259"/>
                        </a:lnTo>
                        <a:lnTo>
                          <a:pt x="234" y="260"/>
                        </a:lnTo>
                        <a:lnTo>
                          <a:pt x="229" y="263"/>
                        </a:lnTo>
                        <a:lnTo>
                          <a:pt x="221" y="269"/>
                        </a:lnTo>
                        <a:lnTo>
                          <a:pt x="213" y="277"/>
                        </a:lnTo>
                        <a:lnTo>
                          <a:pt x="211" y="278"/>
                        </a:lnTo>
                        <a:lnTo>
                          <a:pt x="205" y="279"/>
                        </a:lnTo>
                        <a:lnTo>
                          <a:pt x="201" y="280"/>
                        </a:lnTo>
                        <a:lnTo>
                          <a:pt x="197" y="282"/>
                        </a:lnTo>
                        <a:lnTo>
                          <a:pt x="194" y="285"/>
                        </a:lnTo>
                        <a:lnTo>
                          <a:pt x="190" y="288"/>
                        </a:lnTo>
                        <a:lnTo>
                          <a:pt x="187" y="292"/>
                        </a:lnTo>
                        <a:lnTo>
                          <a:pt x="185" y="298"/>
                        </a:lnTo>
                        <a:lnTo>
                          <a:pt x="185" y="304"/>
                        </a:lnTo>
                        <a:lnTo>
                          <a:pt x="185" y="312"/>
                        </a:lnTo>
                        <a:lnTo>
                          <a:pt x="187" y="321"/>
                        </a:lnTo>
                        <a:lnTo>
                          <a:pt x="191" y="331"/>
                        </a:lnTo>
                        <a:lnTo>
                          <a:pt x="198" y="344"/>
                        </a:lnTo>
                        <a:lnTo>
                          <a:pt x="207" y="358"/>
                        </a:lnTo>
                        <a:lnTo>
                          <a:pt x="206" y="357"/>
                        </a:lnTo>
                        <a:lnTo>
                          <a:pt x="201" y="355"/>
                        </a:lnTo>
                        <a:lnTo>
                          <a:pt x="195" y="353"/>
                        </a:lnTo>
                        <a:lnTo>
                          <a:pt x="187" y="353"/>
                        </a:lnTo>
                        <a:lnTo>
                          <a:pt x="183" y="353"/>
                        </a:lnTo>
                        <a:lnTo>
                          <a:pt x="177" y="355"/>
                        </a:lnTo>
                        <a:lnTo>
                          <a:pt x="173" y="357"/>
                        </a:lnTo>
                        <a:lnTo>
                          <a:pt x="167" y="361"/>
                        </a:lnTo>
                        <a:lnTo>
                          <a:pt x="162" y="365"/>
                        </a:lnTo>
                        <a:lnTo>
                          <a:pt x="157" y="371"/>
                        </a:lnTo>
                        <a:lnTo>
                          <a:pt x="152" y="379"/>
                        </a:lnTo>
                        <a:lnTo>
                          <a:pt x="146" y="388"/>
                        </a:lnTo>
                        <a:lnTo>
                          <a:pt x="137" y="380"/>
                        </a:lnTo>
                        <a:lnTo>
                          <a:pt x="128" y="373"/>
                        </a:lnTo>
                        <a:lnTo>
                          <a:pt x="123" y="370"/>
                        </a:lnTo>
                        <a:lnTo>
                          <a:pt x="120" y="366"/>
                        </a:lnTo>
                        <a:lnTo>
                          <a:pt x="117" y="362"/>
                        </a:lnTo>
                        <a:lnTo>
                          <a:pt x="113" y="358"/>
                        </a:lnTo>
                        <a:lnTo>
                          <a:pt x="109" y="346"/>
                        </a:lnTo>
                        <a:lnTo>
                          <a:pt x="102" y="334"/>
                        </a:lnTo>
                        <a:lnTo>
                          <a:pt x="96" y="324"/>
                        </a:lnTo>
                        <a:lnTo>
                          <a:pt x="87" y="315"/>
                        </a:lnTo>
                        <a:lnTo>
                          <a:pt x="70" y="297"/>
                        </a:lnTo>
                        <a:lnTo>
                          <a:pt x="50" y="280"/>
                        </a:lnTo>
                        <a:lnTo>
                          <a:pt x="40" y="271"/>
                        </a:lnTo>
                        <a:lnTo>
                          <a:pt x="31" y="263"/>
                        </a:lnTo>
                        <a:lnTo>
                          <a:pt x="22" y="254"/>
                        </a:lnTo>
                        <a:lnTo>
                          <a:pt x="16" y="245"/>
                        </a:lnTo>
                        <a:lnTo>
                          <a:pt x="9" y="235"/>
                        </a:lnTo>
                        <a:lnTo>
                          <a:pt x="5" y="223"/>
                        </a:lnTo>
                        <a:lnTo>
                          <a:pt x="1" y="211"/>
                        </a:lnTo>
                        <a:lnTo>
                          <a:pt x="0" y="198"/>
                        </a:lnTo>
                        <a:lnTo>
                          <a:pt x="1" y="187"/>
                        </a:lnTo>
                        <a:lnTo>
                          <a:pt x="4" y="178"/>
                        </a:lnTo>
                        <a:lnTo>
                          <a:pt x="7" y="169"/>
                        </a:lnTo>
                        <a:lnTo>
                          <a:pt x="11" y="162"/>
                        </a:lnTo>
                        <a:lnTo>
                          <a:pt x="22" y="150"/>
                        </a:lnTo>
                        <a:lnTo>
                          <a:pt x="34" y="139"/>
                        </a:lnTo>
                        <a:lnTo>
                          <a:pt x="41" y="134"/>
                        </a:lnTo>
                        <a:lnTo>
                          <a:pt x="45" y="129"/>
                        </a:lnTo>
                        <a:lnTo>
                          <a:pt x="50" y="123"/>
                        </a:lnTo>
                        <a:lnTo>
                          <a:pt x="54" y="116"/>
                        </a:lnTo>
                        <a:lnTo>
                          <a:pt x="56" y="109"/>
                        </a:lnTo>
                        <a:lnTo>
                          <a:pt x="57" y="101"/>
                        </a:lnTo>
                        <a:lnTo>
                          <a:pt x="56" y="91"/>
                        </a:lnTo>
                        <a:lnTo>
                          <a:pt x="54" y="81"/>
                        </a:lnTo>
                        <a:lnTo>
                          <a:pt x="84" y="83"/>
                        </a:lnTo>
                        <a:lnTo>
                          <a:pt x="108" y="83"/>
                        </a:lnTo>
                        <a:lnTo>
                          <a:pt x="129" y="83"/>
                        </a:lnTo>
                        <a:lnTo>
                          <a:pt x="144" y="82"/>
                        </a:lnTo>
                        <a:lnTo>
                          <a:pt x="156" y="80"/>
                        </a:lnTo>
                        <a:lnTo>
                          <a:pt x="165" y="77"/>
                        </a:lnTo>
                        <a:lnTo>
                          <a:pt x="168" y="75"/>
                        </a:lnTo>
                        <a:lnTo>
                          <a:pt x="172" y="73"/>
                        </a:lnTo>
                        <a:lnTo>
                          <a:pt x="174" y="71"/>
                        </a:lnTo>
                        <a:lnTo>
                          <a:pt x="175" y="69"/>
                        </a:lnTo>
                        <a:lnTo>
                          <a:pt x="177" y="63"/>
                        </a:lnTo>
                        <a:lnTo>
                          <a:pt x="176" y="56"/>
                        </a:lnTo>
                        <a:lnTo>
                          <a:pt x="175" y="49"/>
                        </a:lnTo>
                        <a:lnTo>
                          <a:pt x="174" y="41"/>
                        </a:lnTo>
                        <a:lnTo>
                          <a:pt x="172" y="32"/>
                        </a:lnTo>
                        <a:lnTo>
                          <a:pt x="169" y="22"/>
                        </a:lnTo>
                        <a:lnTo>
                          <a:pt x="167" y="12"/>
                        </a:lnTo>
                        <a:lnTo>
                          <a:pt x="167" y="0"/>
                        </a:lnTo>
                        <a:lnTo>
                          <a:pt x="266" y="7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783" name="Freeform 251">
                    <a:hlinkClick r:id="rId57" action="ppaction://hlinkpres?slideindex=1&amp;slidetitle=" tooltip="Mozambique"/>
                  </p:cNvPr>
                  <p:cNvSpPr>
                    <a:spLocks/>
                  </p:cNvSpPr>
                  <p:nvPr>
                    <p:custDataLst>
                      <p:tags r:id="rId14"/>
                    </p:custDataLst>
                  </p:nvPr>
                </p:nvSpPr>
                <p:spPr bwMode="auto">
                  <a:xfrm>
                    <a:off x="5922462" y="4346353"/>
                    <a:ext cx="826854" cy="1230137"/>
                  </a:xfrm>
                  <a:custGeom>
                    <a:avLst/>
                    <a:gdLst>
                      <a:gd name="T0" fmla="*/ 0 w 599"/>
                      <a:gd name="T1" fmla="*/ 2147483647 h 993"/>
                      <a:gd name="T2" fmla="*/ 2147483647 w 599"/>
                      <a:gd name="T3" fmla="*/ 2147483647 h 993"/>
                      <a:gd name="T4" fmla="*/ 2147483647 w 599"/>
                      <a:gd name="T5" fmla="*/ 2147483647 h 993"/>
                      <a:gd name="T6" fmla="*/ 2147483647 w 599"/>
                      <a:gd name="T7" fmla="*/ 2147483647 h 993"/>
                      <a:gd name="T8" fmla="*/ 2147483647 w 599"/>
                      <a:gd name="T9" fmla="*/ 2147483647 h 993"/>
                      <a:gd name="T10" fmla="*/ 2147483647 w 599"/>
                      <a:gd name="T11" fmla="*/ 2147483647 h 993"/>
                      <a:gd name="T12" fmla="*/ 2147483647 w 599"/>
                      <a:gd name="T13" fmla="*/ 2147483647 h 993"/>
                      <a:gd name="T14" fmla="*/ 2147483647 w 599"/>
                      <a:gd name="T15" fmla="*/ 2147483647 h 993"/>
                      <a:gd name="T16" fmla="*/ 2147483647 w 599"/>
                      <a:gd name="T17" fmla="*/ 2147483647 h 993"/>
                      <a:gd name="T18" fmla="*/ 2147483647 w 599"/>
                      <a:gd name="T19" fmla="*/ 2147483647 h 993"/>
                      <a:gd name="T20" fmla="*/ 2147483647 w 599"/>
                      <a:gd name="T21" fmla="*/ 2147483647 h 993"/>
                      <a:gd name="T22" fmla="*/ 2147483647 w 599"/>
                      <a:gd name="T23" fmla="*/ 2147483647 h 993"/>
                      <a:gd name="T24" fmla="*/ 2147483647 w 599"/>
                      <a:gd name="T25" fmla="*/ 2147483647 h 993"/>
                      <a:gd name="T26" fmla="*/ 2147483647 w 599"/>
                      <a:gd name="T27" fmla="*/ 2147483647 h 993"/>
                      <a:gd name="T28" fmla="*/ 2147483647 w 599"/>
                      <a:gd name="T29" fmla="*/ 2147483647 h 993"/>
                      <a:gd name="T30" fmla="*/ 2147483647 w 599"/>
                      <a:gd name="T31" fmla="*/ 2147483647 h 993"/>
                      <a:gd name="T32" fmla="*/ 2147483647 w 599"/>
                      <a:gd name="T33" fmla="*/ 2147483647 h 993"/>
                      <a:gd name="T34" fmla="*/ 2147483647 w 599"/>
                      <a:gd name="T35" fmla="*/ 2147483647 h 993"/>
                      <a:gd name="T36" fmla="*/ 2147483647 w 599"/>
                      <a:gd name="T37" fmla="*/ 2147483647 h 993"/>
                      <a:gd name="T38" fmla="*/ 2147483647 w 599"/>
                      <a:gd name="T39" fmla="*/ 2147483647 h 993"/>
                      <a:gd name="T40" fmla="*/ 2147483647 w 599"/>
                      <a:gd name="T41" fmla="*/ 2147483647 h 993"/>
                      <a:gd name="T42" fmla="*/ 2147483647 w 599"/>
                      <a:gd name="T43" fmla="*/ 2147483647 h 993"/>
                      <a:gd name="T44" fmla="*/ 2147483647 w 599"/>
                      <a:gd name="T45" fmla="*/ 2147483647 h 993"/>
                      <a:gd name="T46" fmla="*/ 2147483647 w 599"/>
                      <a:gd name="T47" fmla="*/ 2147483647 h 993"/>
                      <a:gd name="T48" fmla="*/ 2147483647 w 599"/>
                      <a:gd name="T49" fmla="*/ 2147483647 h 993"/>
                      <a:gd name="T50" fmla="*/ 2147483647 w 599"/>
                      <a:gd name="T51" fmla="*/ 2147483647 h 993"/>
                      <a:gd name="T52" fmla="*/ 2147483647 w 599"/>
                      <a:gd name="T53" fmla="*/ 2147483647 h 993"/>
                      <a:gd name="T54" fmla="*/ 2147483647 w 599"/>
                      <a:gd name="T55" fmla="*/ 2147483647 h 993"/>
                      <a:gd name="T56" fmla="*/ 2147483647 w 599"/>
                      <a:gd name="T57" fmla="*/ 2147483647 h 993"/>
                      <a:gd name="T58" fmla="*/ 2147483647 w 599"/>
                      <a:gd name="T59" fmla="*/ 2147483647 h 993"/>
                      <a:gd name="T60" fmla="*/ 2147483647 w 599"/>
                      <a:gd name="T61" fmla="*/ 2147483647 h 993"/>
                      <a:gd name="T62" fmla="*/ 2147483647 w 599"/>
                      <a:gd name="T63" fmla="*/ 2147483647 h 993"/>
                      <a:gd name="T64" fmla="*/ 2147483647 w 599"/>
                      <a:gd name="T65" fmla="*/ 2147483647 h 993"/>
                      <a:gd name="T66" fmla="*/ 2147483647 w 599"/>
                      <a:gd name="T67" fmla="*/ 2147483647 h 993"/>
                      <a:gd name="T68" fmla="*/ 2147483647 w 599"/>
                      <a:gd name="T69" fmla="*/ 2147483647 h 993"/>
                      <a:gd name="T70" fmla="*/ 2147483647 w 599"/>
                      <a:gd name="T71" fmla="*/ 2147483647 h 993"/>
                      <a:gd name="T72" fmla="*/ 2147483647 w 599"/>
                      <a:gd name="T73" fmla="*/ 2147483647 h 993"/>
                      <a:gd name="T74" fmla="*/ 2147483647 w 599"/>
                      <a:gd name="T75" fmla="*/ 2147483647 h 993"/>
                      <a:gd name="T76" fmla="*/ 2147483647 w 599"/>
                      <a:gd name="T77" fmla="*/ 2147483647 h 993"/>
                      <a:gd name="T78" fmla="*/ 2147483647 w 599"/>
                      <a:gd name="T79" fmla="*/ 2147483647 h 993"/>
                      <a:gd name="T80" fmla="*/ 2147483647 w 599"/>
                      <a:gd name="T81" fmla="*/ 2147483647 h 993"/>
                      <a:gd name="T82" fmla="*/ 2147483647 w 599"/>
                      <a:gd name="T83" fmla="*/ 2147483647 h 993"/>
                      <a:gd name="T84" fmla="*/ 2147483647 w 599"/>
                      <a:gd name="T85" fmla="*/ 2147483647 h 993"/>
                      <a:gd name="T86" fmla="*/ 2147483647 w 599"/>
                      <a:gd name="T87" fmla="*/ 2147483647 h 993"/>
                      <a:gd name="T88" fmla="*/ 2147483647 w 599"/>
                      <a:gd name="T89" fmla="*/ 2147483647 h 993"/>
                      <a:gd name="T90" fmla="*/ 2147483647 w 599"/>
                      <a:gd name="T91" fmla="*/ 2147483647 h 993"/>
                      <a:gd name="T92" fmla="*/ 2147483647 w 599"/>
                      <a:gd name="T93" fmla="*/ 2147483647 h 993"/>
                      <a:gd name="T94" fmla="*/ 2147483647 w 599"/>
                      <a:gd name="T95" fmla="*/ 2147483647 h 993"/>
                      <a:gd name="T96" fmla="*/ 2147483647 w 599"/>
                      <a:gd name="T97" fmla="*/ 2147483647 h 993"/>
                      <a:gd name="T98" fmla="*/ 2147483647 w 599"/>
                      <a:gd name="T99" fmla="*/ 2147483647 h 993"/>
                      <a:gd name="T100" fmla="*/ 2147483647 w 599"/>
                      <a:gd name="T101" fmla="*/ 2147483647 h 993"/>
                      <a:gd name="T102" fmla="*/ 2147483647 w 599"/>
                      <a:gd name="T103" fmla="*/ 2147483647 h 993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599"/>
                      <a:gd name="T157" fmla="*/ 0 h 993"/>
                      <a:gd name="T158" fmla="*/ 599 w 599"/>
                      <a:gd name="T159" fmla="*/ 993 h 993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599" h="993">
                        <a:moveTo>
                          <a:pt x="15" y="309"/>
                        </a:moveTo>
                        <a:lnTo>
                          <a:pt x="9" y="291"/>
                        </a:lnTo>
                        <a:lnTo>
                          <a:pt x="3" y="273"/>
                        </a:lnTo>
                        <a:lnTo>
                          <a:pt x="1" y="266"/>
                        </a:lnTo>
                        <a:lnTo>
                          <a:pt x="0" y="259"/>
                        </a:lnTo>
                        <a:lnTo>
                          <a:pt x="0" y="253"/>
                        </a:lnTo>
                        <a:lnTo>
                          <a:pt x="2" y="248"/>
                        </a:lnTo>
                        <a:lnTo>
                          <a:pt x="174" y="216"/>
                        </a:lnTo>
                        <a:lnTo>
                          <a:pt x="177" y="220"/>
                        </a:lnTo>
                        <a:lnTo>
                          <a:pt x="182" y="224"/>
                        </a:lnTo>
                        <a:lnTo>
                          <a:pt x="187" y="227"/>
                        </a:lnTo>
                        <a:lnTo>
                          <a:pt x="193" y="229"/>
                        </a:lnTo>
                        <a:lnTo>
                          <a:pt x="207" y="234"/>
                        </a:lnTo>
                        <a:lnTo>
                          <a:pt x="222" y="238"/>
                        </a:lnTo>
                        <a:lnTo>
                          <a:pt x="230" y="240"/>
                        </a:lnTo>
                        <a:lnTo>
                          <a:pt x="237" y="242"/>
                        </a:lnTo>
                        <a:lnTo>
                          <a:pt x="243" y="245"/>
                        </a:lnTo>
                        <a:lnTo>
                          <a:pt x="249" y="249"/>
                        </a:lnTo>
                        <a:lnTo>
                          <a:pt x="253" y="253"/>
                        </a:lnTo>
                        <a:lnTo>
                          <a:pt x="258" y="258"/>
                        </a:lnTo>
                        <a:lnTo>
                          <a:pt x="260" y="264"/>
                        </a:lnTo>
                        <a:lnTo>
                          <a:pt x="261" y="272"/>
                        </a:lnTo>
                        <a:lnTo>
                          <a:pt x="260" y="280"/>
                        </a:lnTo>
                        <a:lnTo>
                          <a:pt x="256" y="289"/>
                        </a:lnTo>
                        <a:lnTo>
                          <a:pt x="252" y="296"/>
                        </a:lnTo>
                        <a:lnTo>
                          <a:pt x="248" y="302"/>
                        </a:lnTo>
                        <a:lnTo>
                          <a:pt x="242" y="308"/>
                        </a:lnTo>
                        <a:lnTo>
                          <a:pt x="238" y="314"/>
                        </a:lnTo>
                        <a:lnTo>
                          <a:pt x="236" y="321"/>
                        </a:lnTo>
                        <a:lnTo>
                          <a:pt x="234" y="327"/>
                        </a:lnTo>
                        <a:lnTo>
                          <a:pt x="234" y="333"/>
                        </a:lnTo>
                        <a:lnTo>
                          <a:pt x="236" y="338"/>
                        </a:lnTo>
                        <a:lnTo>
                          <a:pt x="238" y="344"/>
                        </a:lnTo>
                        <a:lnTo>
                          <a:pt x="241" y="349"/>
                        </a:lnTo>
                        <a:lnTo>
                          <a:pt x="250" y="357"/>
                        </a:lnTo>
                        <a:lnTo>
                          <a:pt x="259" y="365"/>
                        </a:lnTo>
                        <a:lnTo>
                          <a:pt x="278" y="378"/>
                        </a:lnTo>
                        <a:lnTo>
                          <a:pt x="294" y="389"/>
                        </a:lnTo>
                        <a:lnTo>
                          <a:pt x="294" y="376"/>
                        </a:lnTo>
                        <a:lnTo>
                          <a:pt x="294" y="365"/>
                        </a:lnTo>
                        <a:lnTo>
                          <a:pt x="294" y="356"/>
                        </a:lnTo>
                        <a:lnTo>
                          <a:pt x="294" y="346"/>
                        </a:lnTo>
                        <a:lnTo>
                          <a:pt x="305" y="346"/>
                        </a:lnTo>
                        <a:lnTo>
                          <a:pt x="315" y="343"/>
                        </a:lnTo>
                        <a:lnTo>
                          <a:pt x="319" y="340"/>
                        </a:lnTo>
                        <a:lnTo>
                          <a:pt x="323" y="338"/>
                        </a:lnTo>
                        <a:lnTo>
                          <a:pt x="327" y="335"/>
                        </a:lnTo>
                        <a:lnTo>
                          <a:pt x="329" y="332"/>
                        </a:lnTo>
                        <a:lnTo>
                          <a:pt x="334" y="326"/>
                        </a:lnTo>
                        <a:lnTo>
                          <a:pt x="338" y="317"/>
                        </a:lnTo>
                        <a:lnTo>
                          <a:pt x="340" y="308"/>
                        </a:lnTo>
                        <a:lnTo>
                          <a:pt x="340" y="297"/>
                        </a:lnTo>
                        <a:lnTo>
                          <a:pt x="339" y="283"/>
                        </a:lnTo>
                        <a:lnTo>
                          <a:pt x="337" y="272"/>
                        </a:lnTo>
                        <a:lnTo>
                          <a:pt x="332" y="261"/>
                        </a:lnTo>
                        <a:lnTo>
                          <a:pt x="327" y="251"/>
                        </a:lnTo>
                        <a:lnTo>
                          <a:pt x="322" y="240"/>
                        </a:lnTo>
                        <a:lnTo>
                          <a:pt x="318" y="229"/>
                        </a:lnTo>
                        <a:lnTo>
                          <a:pt x="315" y="217"/>
                        </a:lnTo>
                        <a:lnTo>
                          <a:pt x="314" y="204"/>
                        </a:lnTo>
                        <a:lnTo>
                          <a:pt x="309" y="202"/>
                        </a:lnTo>
                        <a:lnTo>
                          <a:pt x="301" y="194"/>
                        </a:lnTo>
                        <a:lnTo>
                          <a:pt x="292" y="184"/>
                        </a:lnTo>
                        <a:lnTo>
                          <a:pt x="282" y="171"/>
                        </a:lnTo>
                        <a:lnTo>
                          <a:pt x="271" y="157"/>
                        </a:lnTo>
                        <a:lnTo>
                          <a:pt x="262" y="144"/>
                        </a:lnTo>
                        <a:lnTo>
                          <a:pt x="259" y="139"/>
                        </a:lnTo>
                        <a:lnTo>
                          <a:pt x="256" y="133"/>
                        </a:lnTo>
                        <a:lnTo>
                          <a:pt x="254" y="128"/>
                        </a:lnTo>
                        <a:lnTo>
                          <a:pt x="254" y="125"/>
                        </a:lnTo>
                        <a:lnTo>
                          <a:pt x="255" y="110"/>
                        </a:lnTo>
                        <a:lnTo>
                          <a:pt x="259" y="90"/>
                        </a:lnTo>
                        <a:lnTo>
                          <a:pt x="262" y="80"/>
                        </a:lnTo>
                        <a:lnTo>
                          <a:pt x="265" y="71"/>
                        </a:lnTo>
                        <a:lnTo>
                          <a:pt x="270" y="62"/>
                        </a:lnTo>
                        <a:lnTo>
                          <a:pt x="274" y="56"/>
                        </a:lnTo>
                        <a:lnTo>
                          <a:pt x="286" y="57"/>
                        </a:lnTo>
                        <a:lnTo>
                          <a:pt x="298" y="58"/>
                        </a:lnTo>
                        <a:lnTo>
                          <a:pt x="309" y="57"/>
                        </a:lnTo>
                        <a:lnTo>
                          <a:pt x="320" y="55"/>
                        </a:lnTo>
                        <a:lnTo>
                          <a:pt x="343" y="52"/>
                        </a:lnTo>
                        <a:lnTo>
                          <a:pt x="367" y="50"/>
                        </a:lnTo>
                        <a:lnTo>
                          <a:pt x="378" y="52"/>
                        </a:lnTo>
                        <a:lnTo>
                          <a:pt x="398" y="56"/>
                        </a:lnTo>
                        <a:lnTo>
                          <a:pt x="418" y="60"/>
                        </a:lnTo>
                        <a:lnTo>
                          <a:pt x="433" y="62"/>
                        </a:lnTo>
                        <a:lnTo>
                          <a:pt x="445" y="60"/>
                        </a:lnTo>
                        <a:lnTo>
                          <a:pt x="466" y="54"/>
                        </a:lnTo>
                        <a:lnTo>
                          <a:pt x="493" y="46"/>
                        </a:lnTo>
                        <a:lnTo>
                          <a:pt x="521" y="36"/>
                        </a:lnTo>
                        <a:lnTo>
                          <a:pt x="550" y="26"/>
                        </a:lnTo>
                        <a:lnTo>
                          <a:pt x="574" y="16"/>
                        </a:lnTo>
                        <a:lnTo>
                          <a:pt x="584" y="12"/>
                        </a:lnTo>
                        <a:lnTo>
                          <a:pt x="591" y="7"/>
                        </a:lnTo>
                        <a:lnTo>
                          <a:pt x="597" y="3"/>
                        </a:lnTo>
                        <a:lnTo>
                          <a:pt x="599" y="0"/>
                        </a:lnTo>
                        <a:lnTo>
                          <a:pt x="598" y="12"/>
                        </a:lnTo>
                        <a:lnTo>
                          <a:pt x="597" y="20"/>
                        </a:lnTo>
                        <a:lnTo>
                          <a:pt x="597" y="25"/>
                        </a:lnTo>
                        <a:lnTo>
                          <a:pt x="597" y="30"/>
                        </a:lnTo>
                        <a:lnTo>
                          <a:pt x="598" y="36"/>
                        </a:lnTo>
                        <a:lnTo>
                          <a:pt x="599" y="44"/>
                        </a:lnTo>
                        <a:lnTo>
                          <a:pt x="599" y="76"/>
                        </a:lnTo>
                        <a:lnTo>
                          <a:pt x="598" y="102"/>
                        </a:lnTo>
                        <a:lnTo>
                          <a:pt x="597" y="126"/>
                        </a:lnTo>
                        <a:lnTo>
                          <a:pt x="596" y="146"/>
                        </a:lnTo>
                        <a:lnTo>
                          <a:pt x="595" y="165"/>
                        </a:lnTo>
                        <a:lnTo>
                          <a:pt x="594" y="185"/>
                        </a:lnTo>
                        <a:lnTo>
                          <a:pt x="592" y="205"/>
                        </a:lnTo>
                        <a:lnTo>
                          <a:pt x="592" y="228"/>
                        </a:lnTo>
                        <a:lnTo>
                          <a:pt x="592" y="239"/>
                        </a:lnTo>
                        <a:lnTo>
                          <a:pt x="591" y="249"/>
                        </a:lnTo>
                        <a:lnTo>
                          <a:pt x="589" y="258"/>
                        </a:lnTo>
                        <a:lnTo>
                          <a:pt x="587" y="267"/>
                        </a:lnTo>
                        <a:lnTo>
                          <a:pt x="585" y="276"/>
                        </a:lnTo>
                        <a:lnTo>
                          <a:pt x="581" y="285"/>
                        </a:lnTo>
                        <a:lnTo>
                          <a:pt x="577" y="295"/>
                        </a:lnTo>
                        <a:lnTo>
                          <a:pt x="573" y="304"/>
                        </a:lnTo>
                        <a:lnTo>
                          <a:pt x="562" y="321"/>
                        </a:lnTo>
                        <a:lnTo>
                          <a:pt x="550" y="337"/>
                        </a:lnTo>
                        <a:lnTo>
                          <a:pt x="535" y="353"/>
                        </a:lnTo>
                        <a:lnTo>
                          <a:pt x="520" y="367"/>
                        </a:lnTo>
                        <a:lnTo>
                          <a:pt x="503" y="379"/>
                        </a:lnTo>
                        <a:lnTo>
                          <a:pt x="487" y="391"/>
                        </a:lnTo>
                        <a:lnTo>
                          <a:pt x="468" y="402"/>
                        </a:lnTo>
                        <a:lnTo>
                          <a:pt x="450" y="410"/>
                        </a:lnTo>
                        <a:lnTo>
                          <a:pt x="431" y="417"/>
                        </a:lnTo>
                        <a:lnTo>
                          <a:pt x="411" y="422"/>
                        </a:lnTo>
                        <a:lnTo>
                          <a:pt x="393" y="425"/>
                        </a:lnTo>
                        <a:lnTo>
                          <a:pt x="374" y="426"/>
                        </a:lnTo>
                        <a:lnTo>
                          <a:pt x="372" y="433"/>
                        </a:lnTo>
                        <a:lnTo>
                          <a:pt x="368" y="440"/>
                        </a:lnTo>
                        <a:lnTo>
                          <a:pt x="365" y="446"/>
                        </a:lnTo>
                        <a:lnTo>
                          <a:pt x="362" y="452"/>
                        </a:lnTo>
                        <a:lnTo>
                          <a:pt x="353" y="464"/>
                        </a:lnTo>
                        <a:lnTo>
                          <a:pt x="342" y="474"/>
                        </a:lnTo>
                        <a:lnTo>
                          <a:pt x="331" y="483"/>
                        </a:lnTo>
                        <a:lnTo>
                          <a:pt x="318" y="491"/>
                        </a:lnTo>
                        <a:lnTo>
                          <a:pt x="306" y="499"/>
                        </a:lnTo>
                        <a:lnTo>
                          <a:pt x="293" y="507"/>
                        </a:lnTo>
                        <a:lnTo>
                          <a:pt x="281" y="516"/>
                        </a:lnTo>
                        <a:lnTo>
                          <a:pt x="269" y="525"/>
                        </a:lnTo>
                        <a:lnTo>
                          <a:pt x="258" y="534"/>
                        </a:lnTo>
                        <a:lnTo>
                          <a:pt x="248" y="544"/>
                        </a:lnTo>
                        <a:lnTo>
                          <a:pt x="243" y="549"/>
                        </a:lnTo>
                        <a:lnTo>
                          <a:pt x="239" y="555"/>
                        </a:lnTo>
                        <a:lnTo>
                          <a:pt x="236" y="561"/>
                        </a:lnTo>
                        <a:lnTo>
                          <a:pt x="232" y="568"/>
                        </a:lnTo>
                        <a:lnTo>
                          <a:pt x="230" y="575"/>
                        </a:lnTo>
                        <a:lnTo>
                          <a:pt x="229" y="582"/>
                        </a:lnTo>
                        <a:lnTo>
                          <a:pt x="228" y="590"/>
                        </a:lnTo>
                        <a:lnTo>
                          <a:pt x="227" y="598"/>
                        </a:lnTo>
                        <a:lnTo>
                          <a:pt x="228" y="604"/>
                        </a:lnTo>
                        <a:lnTo>
                          <a:pt x="231" y="611"/>
                        </a:lnTo>
                        <a:lnTo>
                          <a:pt x="237" y="619"/>
                        </a:lnTo>
                        <a:lnTo>
                          <a:pt x="242" y="629"/>
                        </a:lnTo>
                        <a:lnTo>
                          <a:pt x="249" y="637"/>
                        </a:lnTo>
                        <a:lnTo>
                          <a:pt x="255" y="645"/>
                        </a:lnTo>
                        <a:lnTo>
                          <a:pt x="262" y="650"/>
                        </a:lnTo>
                        <a:lnTo>
                          <a:pt x="267" y="654"/>
                        </a:lnTo>
                        <a:lnTo>
                          <a:pt x="262" y="663"/>
                        </a:lnTo>
                        <a:lnTo>
                          <a:pt x="258" y="671"/>
                        </a:lnTo>
                        <a:lnTo>
                          <a:pt x="255" y="680"/>
                        </a:lnTo>
                        <a:lnTo>
                          <a:pt x="254" y="685"/>
                        </a:lnTo>
                        <a:lnTo>
                          <a:pt x="254" y="694"/>
                        </a:lnTo>
                        <a:lnTo>
                          <a:pt x="256" y="701"/>
                        </a:lnTo>
                        <a:lnTo>
                          <a:pt x="258" y="709"/>
                        </a:lnTo>
                        <a:lnTo>
                          <a:pt x="261" y="715"/>
                        </a:lnTo>
                        <a:lnTo>
                          <a:pt x="263" y="722"/>
                        </a:lnTo>
                        <a:lnTo>
                          <a:pt x="265" y="729"/>
                        </a:lnTo>
                        <a:lnTo>
                          <a:pt x="266" y="738"/>
                        </a:lnTo>
                        <a:lnTo>
                          <a:pt x="267" y="747"/>
                        </a:lnTo>
                        <a:lnTo>
                          <a:pt x="267" y="766"/>
                        </a:lnTo>
                        <a:lnTo>
                          <a:pt x="267" y="780"/>
                        </a:lnTo>
                        <a:lnTo>
                          <a:pt x="267" y="790"/>
                        </a:lnTo>
                        <a:lnTo>
                          <a:pt x="267" y="796"/>
                        </a:lnTo>
                        <a:lnTo>
                          <a:pt x="266" y="799"/>
                        </a:lnTo>
                        <a:lnTo>
                          <a:pt x="264" y="803"/>
                        </a:lnTo>
                        <a:lnTo>
                          <a:pt x="261" y="808"/>
                        </a:lnTo>
                        <a:lnTo>
                          <a:pt x="256" y="814"/>
                        </a:lnTo>
                        <a:lnTo>
                          <a:pt x="244" y="827"/>
                        </a:lnTo>
                        <a:lnTo>
                          <a:pt x="230" y="841"/>
                        </a:lnTo>
                        <a:lnTo>
                          <a:pt x="215" y="856"/>
                        </a:lnTo>
                        <a:lnTo>
                          <a:pt x="200" y="868"/>
                        </a:lnTo>
                        <a:lnTo>
                          <a:pt x="193" y="873"/>
                        </a:lnTo>
                        <a:lnTo>
                          <a:pt x="186" y="877"/>
                        </a:lnTo>
                        <a:lnTo>
                          <a:pt x="180" y="880"/>
                        </a:lnTo>
                        <a:lnTo>
                          <a:pt x="174" y="882"/>
                        </a:lnTo>
                        <a:lnTo>
                          <a:pt x="161" y="885"/>
                        </a:lnTo>
                        <a:lnTo>
                          <a:pt x="147" y="887"/>
                        </a:lnTo>
                        <a:lnTo>
                          <a:pt x="132" y="889"/>
                        </a:lnTo>
                        <a:lnTo>
                          <a:pt x="118" y="890"/>
                        </a:lnTo>
                        <a:lnTo>
                          <a:pt x="113" y="891"/>
                        </a:lnTo>
                        <a:lnTo>
                          <a:pt x="106" y="892"/>
                        </a:lnTo>
                        <a:lnTo>
                          <a:pt x="102" y="894"/>
                        </a:lnTo>
                        <a:lnTo>
                          <a:pt x="96" y="896"/>
                        </a:lnTo>
                        <a:lnTo>
                          <a:pt x="93" y="900"/>
                        </a:lnTo>
                        <a:lnTo>
                          <a:pt x="91" y="904"/>
                        </a:lnTo>
                        <a:lnTo>
                          <a:pt x="88" y="908"/>
                        </a:lnTo>
                        <a:lnTo>
                          <a:pt x="87" y="913"/>
                        </a:lnTo>
                        <a:lnTo>
                          <a:pt x="88" y="920"/>
                        </a:lnTo>
                        <a:lnTo>
                          <a:pt x="90" y="925"/>
                        </a:lnTo>
                        <a:lnTo>
                          <a:pt x="91" y="931"/>
                        </a:lnTo>
                        <a:lnTo>
                          <a:pt x="93" y="935"/>
                        </a:lnTo>
                        <a:lnTo>
                          <a:pt x="95" y="939"/>
                        </a:lnTo>
                        <a:lnTo>
                          <a:pt x="99" y="941"/>
                        </a:lnTo>
                        <a:lnTo>
                          <a:pt x="103" y="943"/>
                        </a:lnTo>
                        <a:lnTo>
                          <a:pt x="108" y="943"/>
                        </a:lnTo>
                        <a:lnTo>
                          <a:pt x="94" y="993"/>
                        </a:lnTo>
                        <a:lnTo>
                          <a:pt x="91" y="992"/>
                        </a:lnTo>
                        <a:lnTo>
                          <a:pt x="82" y="990"/>
                        </a:lnTo>
                        <a:lnTo>
                          <a:pt x="75" y="988"/>
                        </a:lnTo>
                        <a:lnTo>
                          <a:pt x="74" y="987"/>
                        </a:lnTo>
                        <a:lnTo>
                          <a:pt x="74" y="820"/>
                        </a:lnTo>
                        <a:lnTo>
                          <a:pt x="74" y="810"/>
                        </a:lnTo>
                        <a:lnTo>
                          <a:pt x="73" y="801"/>
                        </a:lnTo>
                        <a:lnTo>
                          <a:pt x="71" y="793"/>
                        </a:lnTo>
                        <a:lnTo>
                          <a:pt x="70" y="785"/>
                        </a:lnTo>
                        <a:lnTo>
                          <a:pt x="64" y="774"/>
                        </a:lnTo>
                        <a:lnTo>
                          <a:pt x="58" y="765"/>
                        </a:lnTo>
                        <a:lnTo>
                          <a:pt x="52" y="755"/>
                        </a:lnTo>
                        <a:lnTo>
                          <a:pt x="47" y="744"/>
                        </a:lnTo>
                        <a:lnTo>
                          <a:pt x="45" y="738"/>
                        </a:lnTo>
                        <a:lnTo>
                          <a:pt x="42" y="729"/>
                        </a:lnTo>
                        <a:lnTo>
                          <a:pt x="41" y="720"/>
                        </a:lnTo>
                        <a:lnTo>
                          <a:pt x="41" y="709"/>
                        </a:lnTo>
                        <a:lnTo>
                          <a:pt x="51" y="704"/>
                        </a:lnTo>
                        <a:lnTo>
                          <a:pt x="72" y="690"/>
                        </a:lnTo>
                        <a:lnTo>
                          <a:pt x="95" y="675"/>
                        </a:lnTo>
                        <a:lnTo>
                          <a:pt x="108" y="666"/>
                        </a:lnTo>
                        <a:lnTo>
                          <a:pt x="107" y="653"/>
                        </a:lnTo>
                        <a:lnTo>
                          <a:pt x="106" y="636"/>
                        </a:lnTo>
                        <a:lnTo>
                          <a:pt x="106" y="627"/>
                        </a:lnTo>
                        <a:lnTo>
                          <a:pt x="108" y="617"/>
                        </a:lnTo>
                        <a:lnTo>
                          <a:pt x="109" y="614"/>
                        </a:lnTo>
                        <a:lnTo>
                          <a:pt x="110" y="610"/>
                        </a:lnTo>
                        <a:lnTo>
                          <a:pt x="113" y="607"/>
                        </a:lnTo>
                        <a:lnTo>
                          <a:pt x="115" y="604"/>
                        </a:lnTo>
                        <a:lnTo>
                          <a:pt x="129" y="591"/>
                        </a:lnTo>
                        <a:lnTo>
                          <a:pt x="149" y="571"/>
                        </a:lnTo>
                        <a:lnTo>
                          <a:pt x="159" y="558"/>
                        </a:lnTo>
                        <a:lnTo>
                          <a:pt x="166" y="546"/>
                        </a:lnTo>
                        <a:lnTo>
                          <a:pt x="170" y="539"/>
                        </a:lnTo>
                        <a:lnTo>
                          <a:pt x="172" y="532"/>
                        </a:lnTo>
                        <a:lnTo>
                          <a:pt x="174" y="526"/>
                        </a:lnTo>
                        <a:lnTo>
                          <a:pt x="174" y="519"/>
                        </a:lnTo>
                        <a:lnTo>
                          <a:pt x="174" y="498"/>
                        </a:lnTo>
                        <a:lnTo>
                          <a:pt x="172" y="479"/>
                        </a:lnTo>
                        <a:lnTo>
                          <a:pt x="170" y="460"/>
                        </a:lnTo>
                        <a:lnTo>
                          <a:pt x="168" y="441"/>
                        </a:lnTo>
                        <a:lnTo>
                          <a:pt x="165" y="423"/>
                        </a:lnTo>
                        <a:lnTo>
                          <a:pt x="163" y="404"/>
                        </a:lnTo>
                        <a:lnTo>
                          <a:pt x="161" y="384"/>
                        </a:lnTo>
                        <a:lnTo>
                          <a:pt x="161" y="364"/>
                        </a:lnTo>
                        <a:lnTo>
                          <a:pt x="152" y="364"/>
                        </a:lnTo>
                        <a:lnTo>
                          <a:pt x="142" y="363"/>
                        </a:lnTo>
                        <a:lnTo>
                          <a:pt x="132" y="361"/>
                        </a:lnTo>
                        <a:lnTo>
                          <a:pt x="122" y="358"/>
                        </a:lnTo>
                        <a:lnTo>
                          <a:pt x="102" y="350"/>
                        </a:lnTo>
                        <a:lnTo>
                          <a:pt x="81" y="341"/>
                        </a:lnTo>
                        <a:lnTo>
                          <a:pt x="42" y="323"/>
                        </a:lnTo>
                        <a:lnTo>
                          <a:pt x="15" y="309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84" name="Freeform 252">
                    <a:hlinkClick r:id="rId57" action="ppaction://hlinkpres?slideindex=1&amp;slidetitle=" tooltip="Botswana"/>
                  </p:cNvPr>
                  <p:cNvSpPr>
                    <a:spLocks/>
                  </p:cNvSpPr>
                  <p:nvPr>
                    <p:custDataLst>
                      <p:tags r:id="rId15"/>
                    </p:custDataLst>
                  </p:nvPr>
                </p:nvSpPr>
                <p:spPr bwMode="auto">
                  <a:xfrm>
                    <a:off x="5080484" y="4912664"/>
                    <a:ext cx="756269" cy="678827"/>
                  </a:xfrm>
                  <a:custGeom>
                    <a:avLst/>
                    <a:gdLst>
                      <a:gd name="T0" fmla="*/ 2147483647 w 545"/>
                      <a:gd name="T1" fmla="*/ 2147483647 h 549"/>
                      <a:gd name="T2" fmla="*/ 2147483647 w 545"/>
                      <a:gd name="T3" fmla="*/ 2147483647 h 549"/>
                      <a:gd name="T4" fmla="*/ 2147483647 w 545"/>
                      <a:gd name="T5" fmla="*/ 2147483647 h 549"/>
                      <a:gd name="T6" fmla="*/ 2147483647 w 545"/>
                      <a:gd name="T7" fmla="*/ 2147483647 h 549"/>
                      <a:gd name="T8" fmla="*/ 2147483647 w 545"/>
                      <a:gd name="T9" fmla="*/ 2147483647 h 549"/>
                      <a:gd name="T10" fmla="*/ 2147483647 w 545"/>
                      <a:gd name="T11" fmla="*/ 2147483647 h 549"/>
                      <a:gd name="T12" fmla="*/ 2147483647 w 545"/>
                      <a:gd name="T13" fmla="*/ 2147483647 h 549"/>
                      <a:gd name="T14" fmla="*/ 2147483647 w 545"/>
                      <a:gd name="T15" fmla="*/ 2147483647 h 549"/>
                      <a:gd name="T16" fmla="*/ 2147483647 w 545"/>
                      <a:gd name="T17" fmla="*/ 2147483647 h 549"/>
                      <a:gd name="T18" fmla="*/ 2147483647 w 545"/>
                      <a:gd name="T19" fmla="*/ 2147483647 h 549"/>
                      <a:gd name="T20" fmla="*/ 2147483647 w 545"/>
                      <a:gd name="T21" fmla="*/ 2147483647 h 549"/>
                      <a:gd name="T22" fmla="*/ 2147483647 w 545"/>
                      <a:gd name="T23" fmla="*/ 2147483647 h 549"/>
                      <a:gd name="T24" fmla="*/ 2147483647 w 545"/>
                      <a:gd name="T25" fmla="*/ 2147483647 h 549"/>
                      <a:gd name="T26" fmla="*/ 2147483647 w 545"/>
                      <a:gd name="T27" fmla="*/ 2147483647 h 549"/>
                      <a:gd name="T28" fmla="*/ 2147483647 w 545"/>
                      <a:gd name="T29" fmla="*/ 2147483647 h 549"/>
                      <a:gd name="T30" fmla="*/ 2147483647 w 545"/>
                      <a:gd name="T31" fmla="*/ 2147483647 h 549"/>
                      <a:gd name="T32" fmla="*/ 2147483647 w 545"/>
                      <a:gd name="T33" fmla="*/ 2147483647 h 549"/>
                      <a:gd name="T34" fmla="*/ 2147483647 w 545"/>
                      <a:gd name="T35" fmla="*/ 2147483647 h 549"/>
                      <a:gd name="T36" fmla="*/ 2147483647 w 545"/>
                      <a:gd name="T37" fmla="*/ 2147483647 h 549"/>
                      <a:gd name="T38" fmla="*/ 2147483647 w 545"/>
                      <a:gd name="T39" fmla="*/ 2147483647 h 549"/>
                      <a:gd name="T40" fmla="*/ 2147483647 w 545"/>
                      <a:gd name="T41" fmla="*/ 2147483647 h 549"/>
                      <a:gd name="T42" fmla="*/ 2147483647 w 545"/>
                      <a:gd name="T43" fmla="*/ 2147483647 h 549"/>
                      <a:gd name="T44" fmla="*/ 2147483647 w 545"/>
                      <a:gd name="T45" fmla="*/ 2147483647 h 549"/>
                      <a:gd name="T46" fmla="*/ 2147483647 w 545"/>
                      <a:gd name="T47" fmla="*/ 2147483647 h 549"/>
                      <a:gd name="T48" fmla="*/ 2147483647 w 545"/>
                      <a:gd name="T49" fmla="*/ 2147483647 h 549"/>
                      <a:gd name="T50" fmla="*/ 2147483647 w 545"/>
                      <a:gd name="T51" fmla="*/ 2147483647 h 549"/>
                      <a:gd name="T52" fmla="*/ 2147483647 w 545"/>
                      <a:gd name="T53" fmla="*/ 2147483647 h 549"/>
                      <a:gd name="T54" fmla="*/ 2147483647 w 545"/>
                      <a:gd name="T55" fmla="*/ 2147483647 h 549"/>
                      <a:gd name="T56" fmla="*/ 2147483647 w 545"/>
                      <a:gd name="T57" fmla="*/ 2147483647 h 549"/>
                      <a:gd name="T58" fmla="*/ 2147483647 w 545"/>
                      <a:gd name="T59" fmla="*/ 2147483647 h 549"/>
                      <a:gd name="T60" fmla="*/ 2147483647 w 545"/>
                      <a:gd name="T61" fmla="*/ 2147483647 h 549"/>
                      <a:gd name="T62" fmla="*/ 2147483647 w 545"/>
                      <a:gd name="T63" fmla="*/ 2147483647 h 549"/>
                      <a:gd name="T64" fmla="*/ 2147483647 w 545"/>
                      <a:gd name="T65" fmla="*/ 0 h 549"/>
                      <a:gd name="T66" fmla="*/ 2147483647 w 545"/>
                      <a:gd name="T67" fmla="*/ 2147483647 h 549"/>
                      <a:gd name="T68" fmla="*/ 2147483647 w 545"/>
                      <a:gd name="T69" fmla="*/ 2147483647 h 549"/>
                      <a:gd name="T70" fmla="*/ 2147483647 w 545"/>
                      <a:gd name="T71" fmla="*/ 2147483647 h 549"/>
                      <a:gd name="T72" fmla="*/ 2147483647 w 545"/>
                      <a:gd name="T73" fmla="*/ 2147483647 h 549"/>
                      <a:gd name="T74" fmla="*/ 2147483647 w 545"/>
                      <a:gd name="T75" fmla="*/ 2147483647 h 549"/>
                      <a:gd name="T76" fmla="*/ 2147483647 w 545"/>
                      <a:gd name="T77" fmla="*/ 2147483647 h 549"/>
                      <a:gd name="T78" fmla="*/ 2147483647 w 545"/>
                      <a:gd name="T79" fmla="*/ 2147483647 h 549"/>
                      <a:gd name="T80" fmla="*/ 2147483647 w 545"/>
                      <a:gd name="T81" fmla="*/ 2147483647 h 549"/>
                      <a:gd name="T82" fmla="*/ 2147483647 w 545"/>
                      <a:gd name="T83" fmla="*/ 2147483647 h 549"/>
                      <a:gd name="T84" fmla="*/ 2147483647 w 545"/>
                      <a:gd name="T85" fmla="*/ 2147483647 h 549"/>
                      <a:gd name="T86" fmla="*/ 2147483647 w 545"/>
                      <a:gd name="T87" fmla="*/ 2147483647 h 549"/>
                      <a:gd name="T88" fmla="*/ 2147483647 w 545"/>
                      <a:gd name="T89" fmla="*/ 2147483647 h 549"/>
                      <a:gd name="T90" fmla="*/ 2147483647 w 545"/>
                      <a:gd name="T91" fmla="*/ 2147483647 h 549"/>
                      <a:gd name="T92" fmla="*/ 2147483647 w 545"/>
                      <a:gd name="T93" fmla="*/ 2147483647 h 549"/>
                      <a:gd name="T94" fmla="*/ 2147483647 w 545"/>
                      <a:gd name="T95" fmla="*/ 2147483647 h 549"/>
                      <a:gd name="T96" fmla="*/ 2147483647 w 545"/>
                      <a:gd name="T97" fmla="*/ 2147483647 h 549"/>
                      <a:gd name="T98" fmla="*/ 0 w 545"/>
                      <a:gd name="T99" fmla="*/ 2147483647 h 549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545"/>
                      <a:gd name="T151" fmla="*/ 0 h 549"/>
                      <a:gd name="T152" fmla="*/ 545 w 545"/>
                      <a:gd name="T153" fmla="*/ 549 h 549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545" h="549">
                        <a:moveTo>
                          <a:pt x="13" y="420"/>
                        </a:moveTo>
                        <a:lnTo>
                          <a:pt x="21" y="424"/>
                        </a:lnTo>
                        <a:lnTo>
                          <a:pt x="30" y="428"/>
                        </a:lnTo>
                        <a:lnTo>
                          <a:pt x="40" y="431"/>
                        </a:lnTo>
                        <a:lnTo>
                          <a:pt x="46" y="432"/>
                        </a:lnTo>
                        <a:lnTo>
                          <a:pt x="46" y="454"/>
                        </a:lnTo>
                        <a:lnTo>
                          <a:pt x="46" y="472"/>
                        </a:lnTo>
                        <a:lnTo>
                          <a:pt x="46" y="491"/>
                        </a:lnTo>
                        <a:lnTo>
                          <a:pt x="46" y="512"/>
                        </a:lnTo>
                        <a:lnTo>
                          <a:pt x="47" y="518"/>
                        </a:lnTo>
                        <a:lnTo>
                          <a:pt x="47" y="523"/>
                        </a:lnTo>
                        <a:lnTo>
                          <a:pt x="48" y="527"/>
                        </a:lnTo>
                        <a:lnTo>
                          <a:pt x="51" y="531"/>
                        </a:lnTo>
                        <a:lnTo>
                          <a:pt x="53" y="534"/>
                        </a:lnTo>
                        <a:lnTo>
                          <a:pt x="55" y="537"/>
                        </a:lnTo>
                        <a:lnTo>
                          <a:pt x="57" y="540"/>
                        </a:lnTo>
                        <a:lnTo>
                          <a:pt x="61" y="542"/>
                        </a:lnTo>
                        <a:lnTo>
                          <a:pt x="68" y="545"/>
                        </a:lnTo>
                        <a:lnTo>
                          <a:pt x="77" y="547"/>
                        </a:lnTo>
                        <a:lnTo>
                          <a:pt x="88" y="548"/>
                        </a:lnTo>
                        <a:lnTo>
                          <a:pt x="100" y="549"/>
                        </a:lnTo>
                        <a:lnTo>
                          <a:pt x="104" y="548"/>
                        </a:lnTo>
                        <a:lnTo>
                          <a:pt x="109" y="548"/>
                        </a:lnTo>
                        <a:lnTo>
                          <a:pt x="113" y="546"/>
                        </a:lnTo>
                        <a:lnTo>
                          <a:pt x="117" y="544"/>
                        </a:lnTo>
                        <a:lnTo>
                          <a:pt x="123" y="539"/>
                        </a:lnTo>
                        <a:lnTo>
                          <a:pt x="130" y="533"/>
                        </a:lnTo>
                        <a:lnTo>
                          <a:pt x="134" y="525"/>
                        </a:lnTo>
                        <a:lnTo>
                          <a:pt x="138" y="516"/>
                        </a:lnTo>
                        <a:lnTo>
                          <a:pt x="143" y="507"/>
                        </a:lnTo>
                        <a:lnTo>
                          <a:pt x="146" y="496"/>
                        </a:lnTo>
                        <a:lnTo>
                          <a:pt x="151" y="487"/>
                        </a:lnTo>
                        <a:lnTo>
                          <a:pt x="154" y="477"/>
                        </a:lnTo>
                        <a:lnTo>
                          <a:pt x="158" y="469"/>
                        </a:lnTo>
                        <a:lnTo>
                          <a:pt x="164" y="461"/>
                        </a:lnTo>
                        <a:lnTo>
                          <a:pt x="169" y="454"/>
                        </a:lnTo>
                        <a:lnTo>
                          <a:pt x="176" y="448"/>
                        </a:lnTo>
                        <a:lnTo>
                          <a:pt x="179" y="446"/>
                        </a:lnTo>
                        <a:lnTo>
                          <a:pt x="183" y="445"/>
                        </a:lnTo>
                        <a:lnTo>
                          <a:pt x="188" y="444"/>
                        </a:lnTo>
                        <a:lnTo>
                          <a:pt x="193" y="444"/>
                        </a:lnTo>
                        <a:lnTo>
                          <a:pt x="201" y="444"/>
                        </a:lnTo>
                        <a:lnTo>
                          <a:pt x="209" y="445"/>
                        </a:lnTo>
                        <a:lnTo>
                          <a:pt x="215" y="446"/>
                        </a:lnTo>
                        <a:lnTo>
                          <a:pt x="222" y="448"/>
                        </a:lnTo>
                        <a:lnTo>
                          <a:pt x="232" y="453"/>
                        </a:lnTo>
                        <a:lnTo>
                          <a:pt x="242" y="457"/>
                        </a:lnTo>
                        <a:lnTo>
                          <a:pt x="252" y="461"/>
                        </a:lnTo>
                        <a:lnTo>
                          <a:pt x="261" y="465"/>
                        </a:lnTo>
                        <a:lnTo>
                          <a:pt x="267" y="467"/>
                        </a:lnTo>
                        <a:lnTo>
                          <a:pt x="272" y="468"/>
                        </a:lnTo>
                        <a:lnTo>
                          <a:pt x="279" y="469"/>
                        </a:lnTo>
                        <a:lnTo>
                          <a:pt x="286" y="469"/>
                        </a:lnTo>
                        <a:lnTo>
                          <a:pt x="297" y="469"/>
                        </a:lnTo>
                        <a:lnTo>
                          <a:pt x="305" y="468"/>
                        </a:lnTo>
                        <a:lnTo>
                          <a:pt x="313" y="466"/>
                        </a:lnTo>
                        <a:lnTo>
                          <a:pt x="319" y="464"/>
                        </a:lnTo>
                        <a:lnTo>
                          <a:pt x="324" y="461"/>
                        </a:lnTo>
                        <a:lnTo>
                          <a:pt x="328" y="457"/>
                        </a:lnTo>
                        <a:lnTo>
                          <a:pt x="332" y="453"/>
                        </a:lnTo>
                        <a:lnTo>
                          <a:pt x="335" y="447"/>
                        </a:lnTo>
                        <a:lnTo>
                          <a:pt x="345" y="422"/>
                        </a:lnTo>
                        <a:lnTo>
                          <a:pt x="359" y="388"/>
                        </a:lnTo>
                        <a:lnTo>
                          <a:pt x="365" y="380"/>
                        </a:lnTo>
                        <a:lnTo>
                          <a:pt x="373" y="372"/>
                        </a:lnTo>
                        <a:lnTo>
                          <a:pt x="382" y="363"/>
                        </a:lnTo>
                        <a:lnTo>
                          <a:pt x="393" y="353"/>
                        </a:lnTo>
                        <a:lnTo>
                          <a:pt x="418" y="333"/>
                        </a:lnTo>
                        <a:lnTo>
                          <a:pt x="447" y="314"/>
                        </a:lnTo>
                        <a:lnTo>
                          <a:pt x="476" y="296"/>
                        </a:lnTo>
                        <a:lnTo>
                          <a:pt x="503" y="278"/>
                        </a:lnTo>
                        <a:lnTo>
                          <a:pt x="527" y="264"/>
                        </a:lnTo>
                        <a:lnTo>
                          <a:pt x="545" y="253"/>
                        </a:lnTo>
                        <a:lnTo>
                          <a:pt x="538" y="235"/>
                        </a:lnTo>
                        <a:lnTo>
                          <a:pt x="528" y="232"/>
                        </a:lnTo>
                        <a:lnTo>
                          <a:pt x="518" y="229"/>
                        </a:lnTo>
                        <a:lnTo>
                          <a:pt x="511" y="223"/>
                        </a:lnTo>
                        <a:lnTo>
                          <a:pt x="503" y="218"/>
                        </a:lnTo>
                        <a:lnTo>
                          <a:pt x="496" y="212"/>
                        </a:lnTo>
                        <a:lnTo>
                          <a:pt x="491" y="206"/>
                        </a:lnTo>
                        <a:lnTo>
                          <a:pt x="485" y="199"/>
                        </a:lnTo>
                        <a:lnTo>
                          <a:pt x="480" y="191"/>
                        </a:lnTo>
                        <a:lnTo>
                          <a:pt x="470" y="175"/>
                        </a:lnTo>
                        <a:lnTo>
                          <a:pt x="460" y="157"/>
                        </a:lnTo>
                        <a:lnTo>
                          <a:pt x="454" y="149"/>
                        </a:lnTo>
                        <a:lnTo>
                          <a:pt x="447" y="141"/>
                        </a:lnTo>
                        <a:lnTo>
                          <a:pt x="440" y="132"/>
                        </a:lnTo>
                        <a:lnTo>
                          <a:pt x="432" y="124"/>
                        </a:lnTo>
                        <a:lnTo>
                          <a:pt x="404" y="101"/>
                        </a:lnTo>
                        <a:lnTo>
                          <a:pt x="377" y="76"/>
                        </a:lnTo>
                        <a:lnTo>
                          <a:pt x="370" y="69"/>
                        </a:lnTo>
                        <a:lnTo>
                          <a:pt x="365" y="62"/>
                        </a:lnTo>
                        <a:lnTo>
                          <a:pt x="359" y="53"/>
                        </a:lnTo>
                        <a:lnTo>
                          <a:pt x="355" y="44"/>
                        </a:lnTo>
                        <a:lnTo>
                          <a:pt x="350" y="35"/>
                        </a:lnTo>
                        <a:lnTo>
                          <a:pt x="348" y="24"/>
                        </a:lnTo>
                        <a:lnTo>
                          <a:pt x="346" y="13"/>
                        </a:lnTo>
                        <a:lnTo>
                          <a:pt x="346" y="0"/>
                        </a:lnTo>
                        <a:lnTo>
                          <a:pt x="319" y="0"/>
                        </a:lnTo>
                        <a:lnTo>
                          <a:pt x="293" y="0"/>
                        </a:lnTo>
                        <a:lnTo>
                          <a:pt x="268" y="1"/>
                        </a:lnTo>
                        <a:lnTo>
                          <a:pt x="244" y="2"/>
                        </a:lnTo>
                        <a:lnTo>
                          <a:pt x="221" y="6"/>
                        </a:lnTo>
                        <a:lnTo>
                          <a:pt x="198" y="9"/>
                        </a:lnTo>
                        <a:lnTo>
                          <a:pt x="176" y="13"/>
                        </a:lnTo>
                        <a:lnTo>
                          <a:pt x="153" y="19"/>
                        </a:lnTo>
                        <a:lnTo>
                          <a:pt x="123" y="21"/>
                        </a:lnTo>
                        <a:lnTo>
                          <a:pt x="95" y="22"/>
                        </a:lnTo>
                        <a:lnTo>
                          <a:pt x="84" y="23"/>
                        </a:lnTo>
                        <a:lnTo>
                          <a:pt x="75" y="25"/>
                        </a:lnTo>
                        <a:lnTo>
                          <a:pt x="71" y="27"/>
                        </a:lnTo>
                        <a:lnTo>
                          <a:pt x="68" y="30"/>
                        </a:lnTo>
                        <a:lnTo>
                          <a:pt x="67" y="33"/>
                        </a:lnTo>
                        <a:lnTo>
                          <a:pt x="67" y="38"/>
                        </a:lnTo>
                        <a:lnTo>
                          <a:pt x="67" y="44"/>
                        </a:lnTo>
                        <a:lnTo>
                          <a:pt x="69" y="50"/>
                        </a:lnTo>
                        <a:lnTo>
                          <a:pt x="73" y="56"/>
                        </a:lnTo>
                        <a:lnTo>
                          <a:pt x="77" y="63"/>
                        </a:lnTo>
                        <a:lnTo>
                          <a:pt x="80" y="68"/>
                        </a:lnTo>
                        <a:lnTo>
                          <a:pt x="84" y="74"/>
                        </a:lnTo>
                        <a:lnTo>
                          <a:pt x="86" y="80"/>
                        </a:lnTo>
                        <a:lnTo>
                          <a:pt x="87" y="87"/>
                        </a:lnTo>
                        <a:lnTo>
                          <a:pt x="86" y="107"/>
                        </a:lnTo>
                        <a:lnTo>
                          <a:pt x="82" y="129"/>
                        </a:lnTo>
                        <a:lnTo>
                          <a:pt x="78" y="150"/>
                        </a:lnTo>
                        <a:lnTo>
                          <a:pt x="74" y="171"/>
                        </a:lnTo>
                        <a:lnTo>
                          <a:pt x="68" y="193"/>
                        </a:lnTo>
                        <a:lnTo>
                          <a:pt x="64" y="214"/>
                        </a:lnTo>
                        <a:lnTo>
                          <a:pt x="62" y="237"/>
                        </a:lnTo>
                        <a:lnTo>
                          <a:pt x="61" y="259"/>
                        </a:lnTo>
                        <a:lnTo>
                          <a:pt x="54" y="261"/>
                        </a:lnTo>
                        <a:lnTo>
                          <a:pt x="47" y="263"/>
                        </a:lnTo>
                        <a:lnTo>
                          <a:pt x="42" y="266"/>
                        </a:lnTo>
                        <a:lnTo>
                          <a:pt x="36" y="269"/>
                        </a:lnTo>
                        <a:lnTo>
                          <a:pt x="26" y="277"/>
                        </a:lnTo>
                        <a:lnTo>
                          <a:pt x="18" y="287"/>
                        </a:lnTo>
                        <a:lnTo>
                          <a:pt x="10" y="297"/>
                        </a:lnTo>
                        <a:lnTo>
                          <a:pt x="5" y="307"/>
                        </a:lnTo>
                        <a:lnTo>
                          <a:pt x="1" y="317"/>
                        </a:lnTo>
                        <a:lnTo>
                          <a:pt x="0" y="327"/>
                        </a:lnTo>
                        <a:lnTo>
                          <a:pt x="1" y="339"/>
                        </a:lnTo>
                        <a:lnTo>
                          <a:pt x="3" y="349"/>
                        </a:lnTo>
                        <a:lnTo>
                          <a:pt x="6" y="358"/>
                        </a:lnTo>
                        <a:lnTo>
                          <a:pt x="8" y="367"/>
                        </a:lnTo>
                        <a:lnTo>
                          <a:pt x="9" y="376"/>
                        </a:lnTo>
                        <a:lnTo>
                          <a:pt x="9" y="386"/>
                        </a:lnTo>
                        <a:lnTo>
                          <a:pt x="8" y="391"/>
                        </a:lnTo>
                        <a:lnTo>
                          <a:pt x="6" y="397"/>
                        </a:lnTo>
                        <a:lnTo>
                          <a:pt x="3" y="402"/>
                        </a:lnTo>
                        <a:lnTo>
                          <a:pt x="0" y="408"/>
                        </a:lnTo>
                        <a:lnTo>
                          <a:pt x="13" y="420"/>
                        </a:lnTo>
                      </a:path>
                    </a:pathLst>
                  </a:custGeom>
                  <a:solidFill>
                    <a:srgbClr val="0671BA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4" name="Freeform 253"/>
                  <p:cNvSpPr>
                    <a:spLocks/>
                  </p:cNvSpPr>
                  <p:nvPr>
                    <p:custDataLst>
                      <p:tags r:id="rId16"/>
                    </p:custDataLst>
                  </p:nvPr>
                </p:nvSpPr>
                <p:spPr bwMode="auto">
                  <a:xfrm>
                    <a:off x="6900299" y="4444269"/>
                    <a:ext cx="624745" cy="1028066"/>
                  </a:xfrm>
                  <a:custGeom>
                    <a:avLst/>
                    <a:gdLst>
                      <a:gd name="T0" fmla="*/ 154912 w 452"/>
                      <a:gd name="T1" fmla="*/ 322365 h 832"/>
                      <a:gd name="T2" fmla="*/ 190874 w 452"/>
                      <a:gd name="T3" fmla="*/ 306308 h 832"/>
                      <a:gd name="T4" fmla="*/ 228219 w 452"/>
                      <a:gd name="T5" fmla="*/ 296427 h 832"/>
                      <a:gd name="T6" fmla="*/ 265564 w 452"/>
                      <a:gd name="T7" fmla="*/ 286546 h 832"/>
                      <a:gd name="T8" fmla="*/ 297376 w 452"/>
                      <a:gd name="T9" fmla="*/ 268020 h 832"/>
                      <a:gd name="T10" fmla="*/ 320890 w 452"/>
                      <a:gd name="T11" fmla="*/ 247023 h 832"/>
                      <a:gd name="T12" fmla="*/ 320890 w 452"/>
                      <a:gd name="T13" fmla="*/ 221085 h 832"/>
                      <a:gd name="T14" fmla="*/ 366534 w 452"/>
                      <a:gd name="T15" fmla="*/ 219850 h 832"/>
                      <a:gd name="T16" fmla="*/ 390047 w 452"/>
                      <a:gd name="T17" fmla="*/ 213675 h 832"/>
                      <a:gd name="T18" fmla="*/ 412178 w 452"/>
                      <a:gd name="T19" fmla="*/ 200088 h 832"/>
                      <a:gd name="T20" fmla="*/ 442607 w 452"/>
                      <a:gd name="T21" fmla="*/ 164270 h 832"/>
                      <a:gd name="T22" fmla="*/ 484101 w 452"/>
                      <a:gd name="T23" fmla="*/ 92633 h 832"/>
                      <a:gd name="T24" fmla="*/ 522829 w 452"/>
                      <a:gd name="T25" fmla="*/ 0 h 832"/>
                      <a:gd name="T26" fmla="*/ 532511 w 452"/>
                      <a:gd name="T27" fmla="*/ 23467 h 832"/>
                      <a:gd name="T28" fmla="*/ 562940 w 452"/>
                      <a:gd name="T29" fmla="*/ 58050 h 832"/>
                      <a:gd name="T30" fmla="*/ 619649 w 452"/>
                      <a:gd name="T31" fmla="*/ 104985 h 832"/>
                      <a:gd name="T32" fmla="*/ 608584 w 452"/>
                      <a:gd name="T33" fmla="*/ 127217 h 832"/>
                      <a:gd name="T34" fmla="*/ 614117 w 452"/>
                      <a:gd name="T35" fmla="*/ 170446 h 832"/>
                      <a:gd name="T36" fmla="*/ 625182 w 452"/>
                      <a:gd name="T37" fmla="*/ 228496 h 832"/>
                      <a:gd name="T38" fmla="*/ 619649 w 452"/>
                      <a:gd name="T39" fmla="*/ 254433 h 832"/>
                      <a:gd name="T40" fmla="*/ 591987 w 452"/>
                      <a:gd name="T41" fmla="*/ 289016 h 832"/>
                      <a:gd name="T42" fmla="*/ 565707 w 452"/>
                      <a:gd name="T43" fmla="*/ 322365 h 832"/>
                      <a:gd name="T44" fmla="*/ 560174 w 452"/>
                      <a:gd name="T45" fmla="*/ 349537 h 832"/>
                      <a:gd name="T46" fmla="*/ 543576 w 452"/>
                      <a:gd name="T47" fmla="*/ 380415 h 832"/>
                      <a:gd name="T48" fmla="*/ 529745 w 452"/>
                      <a:gd name="T49" fmla="*/ 392766 h 832"/>
                      <a:gd name="T50" fmla="*/ 521446 w 452"/>
                      <a:gd name="T51" fmla="*/ 410058 h 832"/>
                      <a:gd name="T52" fmla="*/ 508998 w 452"/>
                      <a:gd name="T53" fmla="*/ 449581 h 832"/>
                      <a:gd name="T54" fmla="*/ 467503 w 452"/>
                      <a:gd name="T55" fmla="*/ 527393 h 832"/>
                      <a:gd name="T56" fmla="*/ 443990 w 452"/>
                      <a:gd name="T57" fmla="*/ 580503 h 832"/>
                      <a:gd name="T58" fmla="*/ 439840 w 452"/>
                      <a:gd name="T59" fmla="*/ 617556 h 832"/>
                      <a:gd name="T60" fmla="*/ 428775 w 452"/>
                      <a:gd name="T61" fmla="*/ 655845 h 832"/>
                      <a:gd name="T62" fmla="*/ 388664 w 452"/>
                      <a:gd name="T63" fmla="*/ 743538 h 832"/>
                      <a:gd name="T64" fmla="*/ 359618 w 452"/>
                      <a:gd name="T65" fmla="*/ 786767 h 832"/>
                      <a:gd name="T66" fmla="*/ 334721 w 452"/>
                      <a:gd name="T67" fmla="*/ 808999 h 832"/>
                      <a:gd name="T68" fmla="*/ 320890 w 452"/>
                      <a:gd name="T69" fmla="*/ 815175 h 832"/>
                      <a:gd name="T70" fmla="*/ 315357 w 452"/>
                      <a:gd name="T71" fmla="*/ 881871 h 832"/>
                      <a:gd name="T72" fmla="*/ 297376 w 452"/>
                      <a:gd name="T73" fmla="*/ 937451 h 832"/>
                      <a:gd name="T74" fmla="*/ 264181 w 452"/>
                      <a:gd name="T75" fmla="*/ 981915 h 832"/>
                      <a:gd name="T76" fmla="*/ 217154 w 452"/>
                      <a:gd name="T77" fmla="*/ 1011558 h 832"/>
                      <a:gd name="T78" fmla="*/ 152146 w 452"/>
                      <a:gd name="T79" fmla="*/ 1026379 h 832"/>
                      <a:gd name="T80" fmla="*/ 110652 w 452"/>
                      <a:gd name="T81" fmla="*/ 1021438 h 832"/>
                      <a:gd name="T82" fmla="*/ 100970 w 452"/>
                      <a:gd name="T83" fmla="*/ 1009087 h 832"/>
                      <a:gd name="T84" fmla="*/ 69157 w 452"/>
                      <a:gd name="T85" fmla="*/ 1000442 h 832"/>
                      <a:gd name="T86" fmla="*/ 35962 w 452"/>
                      <a:gd name="T87" fmla="*/ 985620 h 832"/>
                      <a:gd name="T88" fmla="*/ 16598 w 452"/>
                      <a:gd name="T89" fmla="*/ 959683 h 832"/>
                      <a:gd name="T90" fmla="*/ 4149 w 452"/>
                      <a:gd name="T91" fmla="*/ 928805 h 832"/>
                      <a:gd name="T92" fmla="*/ 0 w 452"/>
                      <a:gd name="T93" fmla="*/ 874460 h 832"/>
                      <a:gd name="T94" fmla="*/ 5533 w 452"/>
                      <a:gd name="T95" fmla="*/ 857168 h 832"/>
                      <a:gd name="T96" fmla="*/ 26280 w 452"/>
                      <a:gd name="T97" fmla="*/ 837407 h 832"/>
                      <a:gd name="T98" fmla="*/ 15215 w 452"/>
                      <a:gd name="T99" fmla="*/ 829996 h 832"/>
                      <a:gd name="T100" fmla="*/ 0 w 452"/>
                      <a:gd name="T101" fmla="*/ 805294 h 832"/>
                      <a:gd name="T102" fmla="*/ 6916 w 452"/>
                      <a:gd name="T103" fmla="*/ 775651 h 832"/>
                      <a:gd name="T104" fmla="*/ 11065 w 452"/>
                      <a:gd name="T105" fmla="*/ 753419 h 832"/>
                      <a:gd name="T106" fmla="*/ 6916 w 452"/>
                      <a:gd name="T107" fmla="*/ 729952 h 832"/>
                      <a:gd name="T108" fmla="*/ 24897 w 452"/>
                      <a:gd name="T109" fmla="*/ 725011 h 832"/>
                      <a:gd name="T110" fmla="*/ 59475 w 452"/>
                      <a:gd name="T111" fmla="*/ 701544 h 832"/>
                      <a:gd name="T112" fmla="*/ 87138 w 452"/>
                      <a:gd name="T113" fmla="*/ 664491 h 832"/>
                      <a:gd name="T114" fmla="*/ 105119 w 452"/>
                      <a:gd name="T115" fmla="*/ 624967 h 832"/>
                      <a:gd name="T116" fmla="*/ 118951 w 452"/>
                      <a:gd name="T117" fmla="*/ 570622 h 832"/>
                      <a:gd name="T118" fmla="*/ 114801 w 452"/>
                      <a:gd name="T119" fmla="*/ 540979 h 832"/>
                      <a:gd name="T120" fmla="*/ 96820 w 452"/>
                      <a:gd name="T121" fmla="*/ 503926 h 832"/>
                      <a:gd name="T122" fmla="*/ 77456 w 452"/>
                      <a:gd name="T123" fmla="*/ 471813 h 832"/>
                      <a:gd name="T124" fmla="*/ 73307 w 452"/>
                      <a:gd name="T125" fmla="*/ 448346 h 832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452"/>
                      <a:gd name="T190" fmla="*/ 0 h 832"/>
                      <a:gd name="T191" fmla="*/ 452 w 452"/>
                      <a:gd name="T192" fmla="*/ 832 h 832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452" h="832">
                        <a:moveTo>
                          <a:pt x="93" y="264"/>
                        </a:moveTo>
                        <a:lnTo>
                          <a:pt x="103" y="263"/>
                        </a:lnTo>
                        <a:lnTo>
                          <a:pt x="112" y="261"/>
                        </a:lnTo>
                        <a:lnTo>
                          <a:pt x="120" y="257"/>
                        </a:lnTo>
                        <a:lnTo>
                          <a:pt x="129" y="252"/>
                        </a:lnTo>
                        <a:lnTo>
                          <a:pt x="138" y="248"/>
                        </a:lnTo>
                        <a:lnTo>
                          <a:pt x="147" y="244"/>
                        </a:lnTo>
                        <a:lnTo>
                          <a:pt x="157" y="241"/>
                        </a:lnTo>
                        <a:lnTo>
                          <a:pt x="165" y="240"/>
                        </a:lnTo>
                        <a:lnTo>
                          <a:pt x="175" y="239"/>
                        </a:lnTo>
                        <a:lnTo>
                          <a:pt x="184" y="236"/>
                        </a:lnTo>
                        <a:lnTo>
                          <a:pt x="192" y="232"/>
                        </a:lnTo>
                        <a:lnTo>
                          <a:pt x="199" y="227"/>
                        </a:lnTo>
                        <a:lnTo>
                          <a:pt x="206" y="222"/>
                        </a:lnTo>
                        <a:lnTo>
                          <a:pt x="215" y="217"/>
                        </a:lnTo>
                        <a:lnTo>
                          <a:pt x="222" y="213"/>
                        </a:lnTo>
                        <a:lnTo>
                          <a:pt x="232" y="209"/>
                        </a:lnTo>
                        <a:lnTo>
                          <a:pt x="232" y="200"/>
                        </a:lnTo>
                        <a:lnTo>
                          <a:pt x="232" y="191"/>
                        </a:lnTo>
                        <a:lnTo>
                          <a:pt x="232" y="184"/>
                        </a:lnTo>
                        <a:lnTo>
                          <a:pt x="232" y="179"/>
                        </a:lnTo>
                        <a:lnTo>
                          <a:pt x="248" y="179"/>
                        </a:lnTo>
                        <a:lnTo>
                          <a:pt x="259" y="179"/>
                        </a:lnTo>
                        <a:lnTo>
                          <a:pt x="265" y="178"/>
                        </a:lnTo>
                        <a:lnTo>
                          <a:pt x="271" y="177"/>
                        </a:lnTo>
                        <a:lnTo>
                          <a:pt x="276" y="175"/>
                        </a:lnTo>
                        <a:lnTo>
                          <a:pt x="282" y="173"/>
                        </a:lnTo>
                        <a:lnTo>
                          <a:pt x="287" y="170"/>
                        </a:lnTo>
                        <a:lnTo>
                          <a:pt x="293" y="166"/>
                        </a:lnTo>
                        <a:lnTo>
                          <a:pt x="298" y="162"/>
                        </a:lnTo>
                        <a:lnTo>
                          <a:pt x="303" y="157"/>
                        </a:lnTo>
                        <a:lnTo>
                          <a:pt x="311" y="145"/>
                        </a:lnTo>
                        <a:lnTo>
                          <a:pt x="320" y="133"/>
                        </a:lnTo>
                        <a:lnTo>
                          <a:pt x="329" y="120"/>
                        </a:lnTo>
                        <a:lnTo>
                          <a:pt x="336" y="106"/>
                        </a:lnTo>
                        <a:lnTo>
                          <a:pt x="350" y="75"/>
                        </a:lnTo>
                        <a:lnTo>
                          <a:pt x="361" y="46"/>
                        </a:lnTo>
                        <a:lnTo>
                          <a:pt x="371" y="20"/>
                        </a:lnTo>
                        <a:lnTo>
                          <a:pt x="378" y="0"/>
                        </a:lnTo>
                        <a:lnTo>
                          <a:pt x="379" y="7"/>
                        </a:lnTo>
                        <a:lnTo>
                          <a:pt x="383" y="13"/>
                        </a:lnTo>
                        <a:lnTo>
                          <a:pt x="385" y="19"/>
                        </a:lnTo>
                        <a:lnTo>
                          <a:pt x="389" y="25"/>
                        </a:lnTo>
                        <a:lnTo>
                          <a:pt x="397" y="36"/>
                        </a:lnTo>
                        <a:lnTo>
                          <a:pt x="407" y="47"/>
                        </a:lnTo>
                        <a:lnTo>
                          <a:pt x="430" y="65"/>
                        </a:lnTo>
                        <a:lnTo>
                          <a:pt x="452" y="80"/>
                        </a:lnTo>
                        <a:lnTo>
                          <a:pt x="448" y="85"/>
                        </a:lnTo>
                        <a:lnTo>
                          <a:pt x="444" y="91"/>
                        </a:lnTo>
                        <a:lnTo>
                          <a:pt x="442" y="96"/>
                        </a:lnTo>
                        <a:lnTo>
                          <a:pt x="440" y="103"/>
                        </a:lnTo>
                        <a:lnTo>
                          <a:pt x="440" y="114"/>
                        </a:lnTo>
                        <a:lnTo>
                          <a:pt x="442" y="125"/>
                        </a:lnTo>
                        <a:lnTo>
                          <a:pt x="444" y="138"/>
                        </a:lnTo>
                        <a:lnTo>
                          <a:pt x="448" y="151"/>
                        </a:lnTo>
                        <a:lnTo>
                          <a:pt x="451" y="168"/>
                        </a:lnTo>
                        <a:lnTo>
                          <a:pt x="452" y="185"/>
                        </a:lnTo>
                        <a:lnTo>
                          <a:pt x="451" y="192"/>
                        </a:lnTo>
                        <a:lnTo>
                          <a:pt x="450" y="199"/>
                        </a:lnTo>
                        <a:lnTo>
                          <a:pt x="448" y="206"/>
                        </a:lnTo>
                        <a:lnTo>
                          <a:pt x="444" y="213"/>
                        </a:lnTo>
                        <a:lnTo>
                          <a:pt x="437" y="224"/>
                        </a:lnTo>
                        <a:lnTo>
                          <a:pt x="428" y="234"/>
                        </a:lnTo>
                        <a:lnTo>
                          <a:pt x="420" y="244"/>
                        </a:lnTo>
                        <a:lnTo>
                          <a:pt x="412" y="255"/>
                        </a:lnTo>
                        <a:lnTo>
                          <a:pt x="409" y="261"/>
                        </a:lnTo>
                        <a:lnTo>
                          <a:pt x="407" y="269"/>
                        </a:lnTo>
                        <a:lnTo>
                          <a:pt x="406" y="276"/>
                        </a:lnTo>
                        <a:lnTo>
                          <a:pt x="405" y="283"/>
                        </a:lnTo>
                        <a:lnTo>
                          <a:pt x="402" y="289"/>
                        </a:lnTo>
                        <a:lnTo>
                          <a:pt x="397" y="302"/>
                        </a:lnTo>
                        <a:lnTo>
                          <a:pt x="393" y="308"/>
                        </a:lnTo>
                        <a:lnTo>
                          <a:pt x="388" y="314"/>
                        </a:lnTo>
                        <a:lnTo>
                          <a:pt x="386" y="316"/>
                        </a:lnTo>
                        <a:lnTo>
                          <a:pt x="383" y="318"/>
                        </a:lnTo>
                        <a:lnTo>
                          <a:pt x="381" y="319"/>
                        </a:lnTo>
                        <a:lnTo>
                          <a:pt x="378" y="320"/>
                        </a:lnTo>
                        <a:lnTo>
                          <a:pt x="377" y="332"/>
                        </a:lnTo>
                        <a:lnTo>
                          <a:pt x="376" y="343"/>
                        </a:lnTo>
                        <a:lnTo>
                          <a:pt x="373" y="354"/>
                        </a:lnTo>
                        <a:lnTo>
                          <a:pt x="368" y="364"/>
                        </a:lnTo>
                        <a:lnTo>
                          <a:pt x="360" y="386"/>
                        </a:lnTo>
                        <a:lnTo>
                          <a:pt x="349" y="406"/>
                        </a:lnTo>
                        <a:lnTo>
                          <a:pt x="338" y="427"/>
                        </a:lnTo>
                        <a:lnTo>
                          <a:pt x="328" y="449"/>
                        </a:lnTo>
                        <a:lnTo>
                          <a:pt x="325" y="459"/>
                        </a:lnTo>
                        <a:lnTo>
                          <a:pt x="321" y="470"/>
                        </a:lnTo>
                        <a:lnTo>
                          <a:pt x="319" y="481"/>
                        </a:lnTo>
                        <a:lnTo>
                          <a:pt x="319" y="493"/>
                        </a:lnTo>
                        <a:lnTo>
                          <a:pt x="318" y="500"/>
                        </a:lnTo>
                        <a:lnTo>
                          <a:pt x="316" y="509"/>
                        </a:lnTo>
                        <a:lnTo>
                          <a:pt x="314" y="520"/>
                        </a:lnTo>
                        <a:lnTo>
                          <a:pt x="310" y="531"/>
                        </a:lnTo>
                        <a:lnTo>
                          <a:pt x="300" y="559"/>
                        </a:lnTo>
                        <a:lnTo>
                          <a:pt x="288" y="587"/>
                        </a:lnTo>
                        <a:lnTo>
                          <a:pt x="281" y="602"/>
                        </a:lnTo>
                        <a:lnTo>
                          <a:pt x="274" y="615"/>
                        </a:lnTo>
                        <a:lnTo>
                          <a:pt x="266" y="627"/>
                        </a:lnTo>
                        <a:lnTo>
                          <a:pt x="260" y="637"/>
                        </a:lnTo>
                        <a:lnTo>
                          <a:pt x="252" y="646"/>
                        </a:lnTo>
                        <a:lnTo>
                          <a:pt x="245" y="653"/>
                        </a:lnTo>
                        <a:lnTo>
                          <a:pt x="242" y="655"/>
                        </a:lnTo>
                        <a:lnTo>
                          <a:pt x="239" y="658"/>
                        </a:lnTo>
                        <a:lnTo>
                          <a:pt x="236" y="659"/>
                        </a:lnTo>
                        <a:lnTo>
                          <a:pt x="232" y="660"/>
                        </a:lnTo>
                        <a:lnTo>
                          <a:pt x="231" y="678"/>
                        </a:lnTo>
                        <a:lnTo>
                          <a:pt x="230" y="696"/>
                        </a:lnTo>
                        <a:lnTo>
                          <a:pt x="228" y="714"/>
                        </a:lnTo>
                        <a:lnTo>
                          <a:pt x="225" y="730"/>
                        </a:lnTo>
                        <a:lnTo>
                          <a:pt x="220" y="745"/>
                        </a:lnTo>
                        <a:lnTo>
                          <a:pt x="215" y="759"/>
                        </a:lnTo>
                        <a:lnTo>
                          <a:pt x="207" y="773"/>
                        </a:lnTo>
                        <a:lnTo>
                          <a:pt x="199" y="785"/>
                        </a:lnTo>
                        <a:lnTo>
                          <a:pt x="191" y="795"/>
                        </a:lnTo>
                        <a:lnTo>
                          <a:pt x="181" y="805"/>
                        </a:lnTo>
                        <a:lnTo>
                          <a:pt x="169" y="812"/>
                        </a:lnTo>
                        <a:lnTo>
                          <a:pt x="157" y="819"/>
                        </a:lnTo>
                        <a:lnTo>
                          <a:pt x="142" y="825"/>
                        </a:lnTo>
                        <a:lnTo>
                          <a:pt x="127" y="829"/>
                        </a:lnTo>
                        <a:lnTo>
                          <a:pt x="110" y="831"/>
                        </a:lnTo>
                        <a:lnTo>
                          <a:pt x="93" y="832"/>
                        </a:lnTo>
                        <a:lnTo>
                          <a:pt x="86" y="831"/>
                        </a:lnTo>
                        <a:lnTo>
                          <a:pt x="80" y="827"/>
                        </a:lnTo>
                        <a:lnTo>
                          <a:pt x="77" y="825"/>
                        </a:lnTo>
                        <a:lnTo>
                          <a:pt x="75" y="821"/>
                        </a:lnTo>
                        <a:lnTo>
                          <a:pt x="73" y="817"/>
                        </a:lnTo>
                        <a:lnTo>
                          <a:pt x="73" y="813"/>
                        </a:lnTo>
                        <a:lnTo>
                          <a:pt x="61" y="812"/>
                        </a:lnTo>
                        <a:lnTo>
                          <a:pt x="50" y="810"/>
                        </a:lnTo>
                        <a:lnTo>
                          <a:pt x="41" y="807"/>
                        </a:lnTo>
                        <a:lnTo>
                          <a:pt x="34" y="803"/>
                        </a:lnTo>
                        <a:lnTo>
                          <a:pt x="26" y="798"/>
                        </a:lnTo>
                        <a:lnTo>
                          <a:pt x="20" y="791"/>
                        </a:lnTo>
                        <a:lnTo>
                          <a:pt x="15" y="785"/>
                        </a:lnTo>
                        <a:lnTo>
                          <a:pt x="12" y="777"/>
                        </a:lnTo>
                        <a:lnTo>
                          <a:pt x="8" y="769"/>
                        </a:lnTo>
                        <a:lnTo>
                          <a:pt x="5" y="760"/>
                        </a:lnTo>
                        <a:lnTo>
                          <a:pt x="3" y="752"/>
                        </a:lnTo>
                        <a:lnTo>
                          <a:pt x="2" y="743"/>
                        </a:lnTo>
                        <a:lnTo>
                          <a:pt x="0" y="726"/>
                        </a:lnTo>
                        <a:lnTo>
                          <a:pt x="0" y="708"/>
                        </a:lnTo>
                        <a:lnTo>
                          <a:pt x="1" y="702"/>
                        </a:lnTo>
                        <a:lnTo>
                          <a:pt x="2" y="697"/>
                        </a:lnTo>
                        <a:lnTo>
                          <a:pt x="4" y="694"/>
                        </a:lnTo>
                        <a:lnTo>
                          <a:pt x="7" y="691"/>
                        </a:lnTo>
                        <a:lnTo>
                          <a:pt x="14" y="685"/>
                        </a:lnTo>
                        <a:lnTo>
                          <a:pt x="19" y="678"/>
                        </a:lnTo>
                        <a:lnTo>
                          <a:pt x="17" y="677"/>
                        </a:lnTo>
                        <a:lnTo>
                          <a:pt x="14" y="675"/>
                        </a:lnTo>
                        <a:lnTo>
                          <a:pt x="11" y="672"/>
                        </a:lnTo>
                        <a:lnTo>
                          <a:pt x="7" y="668"/>
                        </a:lnTo>
                        <a:lnTo>
                          <a:pt x="2" y="660"/>
                        </a:lnTo>
                        <a:lnTo>
                          <a:pt x="0" y="652"/>
                        </a:lnTo>
                        <a:lnTo>
                          <a:pt x="1" y="642"/>
                        </a:lnTo>
                        <a:lnTo>
                          <a:pt x="3" y="635"/>
                        </a:lnTo>
                        <a:lnTo>
                          <a:pt x="5" y="628"/>
                        </a:lnTo>
                        <a:lnTo>
                          <a:pt x="7" y="622"/>
                        </a:lnTo>
                        <a:lnTo>
                          <a:pt x="8" y="616"/>
                        </a:lnTo>
                        <a:lnTo>
                          <a:pt x="8" y="610"/>
                        </a:lnTo>
                        <a:lnTo>
                          <a:pt x="5" y="602"/>
                        </a:lnTo>
                        <a:lnTo>
                          <a:pt x="0" y="591"/>
                        </a:lnTo>
                        <a:lnTo>
                          <a:pt x="5" y="591"/>
                        </a:lnTo>
                        <a:lnTo>
                          <a:pt x="9" y="590"/>
                        </a:lnTo>
                        <a:lnTo>
                          <a:pt x="14" y="589"/>
                        </a:lnTo>
                        <a:lnTo>
                          <a:pt x="18" y="587"/>
                        </a:lnTo>
                        <a:lnTo>
                          <a:pt x="27" y="582"/>
                        </a:lnTo>
                        <a:lnTo>
                          <a:pt x="36" y="575"/>
                        </a:lnTo>
                        <a:lnTo>
                          <a:pt x="43" y="568"/>
                        </a:lnTo>
                        <a:lnTo>
                          <a:pt x="50" y="559"/>
                        </a:lnTo>
                        <a:lnTo>
                          <a:pt x="57" y="549"/>
                        </a:lnTo>
                        <a:lnTo>
                          <a:pt x="63" y="538"/>
                        </a:lnTo>
                        <a:lnTo>
                          <a:pt x="68" y="527"/>
                        </a:lnTo>
                        <a:lnTo>
                          <a:pt x="73" y="516"/>
                        </a:lnTo>
                        <a:lnTo>
                          <a:pt x="76" y="506"/>
                        </a:lnTo>
                        <a:lnTo>
                          <a:pt x="80" y="496"/>
                        </a:lnTo>
                        <a:lnTo>
                          <a:pt x="84" y="476"/>
                        </a:lnTo>
                        <a:lnTo>
                          <a:pt x="86" y="462"/>
                        </a:lnTo>
                        <a:lnTo>
                          <a:pt x="85" y="453"/>
                        </a:lnTo>
                        <a:lnTo>
                          <a:pt x="84" y="445"/>
                        </a:lnTo>
                        <a:lnTo>
                          <a:pt x="83" y="438"/>
                        </a:lnTo>
                        <a:lnTo>
                          <a:pt x="81" y="430"/>
                        </a:lnTo>
                        <a:lnTo>
                          <a:pt x="75" y="419"/>
                        </a:lnTo>
                        <a:lnTo>
                          <a:pt x="70" y="408"/>
                        </a:lnTo>
                        <a:lnTo>
                          <a:pt x="63" y="398"/>
                        </a:lnTo>
                        <a:lnTo>
                          <a:pt x="58" y="388"/>
                        </a:lnTo>
                        <a:lnTo>
                          <a:pt x="56" y="382"/>
                        </a:lnTo>
                        <a:lnTo>
                          <a:pt x="54" y="376"/>
                        </a:lnTo>
                        <a:lnTo>
                          <a:pt x="53" y="370"/>
                        </a:lnTo>
                        <a:lnTo>
                          <a:pt x="53" y="363"/>
                        </a:lnTo>
                        <a:lnTo>
                          <a:pt x="93" y="264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65" name="Freeform 254"/>
                  <p:cNvSpPr>
                    <a:spLocks/>
                  </p:cNvSpPr>
                  <p:nvPr>
                    <p:custDataLst>
                      <p:tags r:id="rId17"/>
                    </p:custDataLst>
                  </p:nvPr>
                </p:nvSpPr>
                <p:spPr bwMode="auto">
                  <a:xfrm>
                    <a:off x="5872192" y="3731781"/>
                    <a:ext cx="116319" cy="156162"/>
                  </a:xfrm>
                  <a:custGeom>
                    <a:avLst/>
                    <a:gdLst>
                      <a:gd name="T0" fmla="*/ 115962 w 80"/>
                      <a:gd name="T1" fmla="*/ 2500 h 126"/>
                      <a:gd name="T2" fmla="*/ 115962 w 80"/>
                      <a:gd name="T3" fmla="*/ 126264 h 126"/>
                      <a:gd name="T4" fmla="*/ 113063 w 80"/>
                      <a:gd name="T5" fmla="*/ 130014 h 126"/>
                      <a:gd name="T6" fmla="*/ 108714 w 80"/>
                      <a:gd name="T7" fmla="*/ 133764 h 126"/>
                      <a:gd name="T8" fmla="*/ 101467 w 80"/>
                      <a:gd name="T9" fmla="*/ 136265 h 126"/>
                      <a:gd name="T10" fmla="*/ 97118 w 80"/>
                      <a:gd name="T11" fmla="*/ 138765 h 126"/>
                      <a:gd name="T12" fmla="*/ 84072 w 80"/>
                      <a:gd name="T13" fmla="*/ 142515 h 126"/>
                      <a:gd name="T14" fmla="*/ 69577 w 80"/>
                      <a:gd name="T15" fmla="*/ 145016 h 126"/>
                      <a:gd name="T16" fmla="*/ 52183 w 80"/>
                      <a:gd name="T17" fmla="*/ 146266 h 126"/>
                      <a:gd name="T18" fmla="*/ 36238 w 80"/>
                      <a:gd name="T19" fmla="*/ 148766 h 126"/>
                      <a:gd name="T20" fmla="*/ 18844 w 80"/>
                      <a:gd name="T21" fmla="*/ 153767 h 126"/>
                      <a:gd name="T22" fmla="*/ 0 w 80"/>
                      <a:gd name="T23" fmla="*/ 157517 h 126"/>
                      <a:gd name="T24" fmla="*/ 10147 w 80"/>
                      <a:gd name="T25" fmla="*/ 50005 h 126"/>
                      <a:gd name="T26" fmla="*/ 33339 w 80"/>
                      <a:gd name="T27" fmla="*/ 33754 h 126"/>
                      <a:gd name="T28" fmla="*/ 59431 w 80"/>
                      <a:gd name="T29" fmla="*/ 15002 h 126"/>
                      <a:gd name="T30" fmla="*/ 73926 w 80"/>
                      <a:gd name="T31" fmla="*/ 6251 h 126"/>
                      <a:gd name="T32" fmla="*/ 86971 w 80"/>
                      <a:gd name="T33" fmla="*/ 1250 h 126"/>
                      <a:gd name="T34" fmla="*/ 94219 w 80"/>
                      <a:gd name="T35" fmla="*/ 0 h 126"/>
                      <a:gd name="T36" fmla="*/ 101467 w 80"/>
                      <a:gd name="T37" fmla="*/ 0 h 126"/>
                      <a:gd name="T38" fmla="*/ 108714 w 80"/>
                      <a:gd name="T39" fmla="*/ 1250 h 126"/>
                      <a:gd name="T40" fmla="*/ 115962 w 80"/>
                      <a:gd name="T41" fmla="*/ 2500 h 12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80"/>
                      <a:gd name="T64" fmla="*/ 0 h 126"/>
                      <a:gd name="T65" fmla="*/ 80 w 80"/>
                      <a:gd name="T66" fmla="*/ 126 h 126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80" h="126">
                        <a:moveTo>
                          <a:pt x="80" y="2"/>
                        </a:moveTo>
                        <a:lnTo>
                          <a:pt x="80" y="101"/>
                        </a:lnTo>
                        <a:lnTo>
                          <a:pt x="78" y="104"/>
                        </a:lnTo>
                        <a:lnTo>
                          <a:pt x="75" y="107"/>
                        </a:lnTo>
                        <a:lnTo>
                          <a:pt x="70" y="109"/>
                        </a:lnTo>
                        <a:lnTo>
                          <a:pt x="67" y="111"/>
                        </a:lnTo>
                        <a:lnTo>
                          <a:pt x="58" y="114"/>
                        </a:lnTo>
                        <a:lnTo>
                          <a:pt x="48" y="116"/>
                        </a:lnTo>
                        <a:lnTo>
                          <a:pt x="36" y="117"/>
                        </a:lnTo>
                        <a:lnTo>
                          <a:pt x="25" y="119"/>
                        </a:lnTo>
                        <a:lnTo>
                          <a:pt x="13" y="123"/>
                        </a:lnTo>
                        <a:lnTo>
                          <a:pt x="0" y="126"/>
                        </a:lnTo>
                        <a:lnTo>
                          <a:pt x="7" y="40"/>
                        </a:lnTo>
                        <a:lnTo>
                          <a:pt x="23" y="27"/>
                        </a:lnTo>
                        <a:lnTo>
                          <a:pt x="41" y="12"/>
                        </a:lnTo>
                        <a:lnTo>
                          <a:pt x="51" y="5"/>
                        </a:lnTo>
                        <a:lnTo>
                          <a:pt x="60" y="1"/>
                        </a:lnTo>
                        <a:lnTo>
                          <a:pt x="65" y="0"/>
                        </a:lnTo>
                        <a:lnTo>
                          <a:pt x="70" y="0"/>
                        </a:lnTo>
                        <a:lnTo>
                          <a:pt x="75" y="1"/>
                        </a:lnTo>
                        <a:lnTo>
                          <a:pt x="80" y="2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787" name="Freeform 255">
                    <a:hlinkClick r:id="rId57" action="ppaction://hlinkpres?slideindex=1&amp;slidetitle=" tooltip="Rwanda"/>
                  </p:cNvPr>
                  <p:cNvSpPr>
                    <a:spLocks/>
                  </p:cNvSpPr>
                  <p:nvPr>
                    <p:custDataLst>
                      <p:tags r:id="rId18"/>
                    </p:custDataLst>
                  </p:nvPr>
                </p:nvSpPr>
                <p:spPr bwMode="auto">
                  <a:xfrm>
                    <a:off x="5836752" y="3637523"/>
                    <a:ext cx="176461" cy="142516"/>
                  </a:xfrm>
                  <a:custGeom>
                    <a:avLst/>
                    <a:gdLst>
                      <a:gd name="T0" fmla="*/ 2147483647 w 124"/>
                      <a:gd name="T1" fmla="*/ 0 h 117"/>
                      <a:gd name="T2" fmla="*/ 2147483647 w 124"/>
                      <a:gd name="T3" fmla="*/ 2147483647 h 117"/>
                      <a:gd name="T4" fmla="*/ 2147483647 w 124"/>
                      <a:gd name="T5" fmla="*/ 2147483647 h 117"/>
                      <a:gd name="T6" fmla="*/ 2147483647 w 124"/>
                      <a:gd name="T7" fmla="*/ 2147483647 h 117"/>
                      <a:gd name="T8" fmla="*/ 2147483647 w 124"/>
                      <a:gd name="T9" fmla="*/ 2147483647 h 117"/>
                      <a:gd name="T10" fmla="*/ 2147483647 w 124"/>
                      <a:gd name="T11" fmla="*/ 2147483647 h 117"/>
                      <a:gd name="T12" fmla="*/ 2147483647 w 124"/>
                      <a:gd name="T13" fmla="*/ 2147483647 h 117"/>
                      <a:gd name="T14" fmla="*/ 2147483647 w 124"/>
                      <a:gd name="T15" fmla="*/ 2147483647 h 117"/>
                      <a:gd name="T16" fmla="*/ 2147483647 w 124"/>
                      <a:gd name="T17" fmla="*/ 2147483647 h 117"/>
                      <a:gd name="T18" fmla="*/ 2147483647 w 124"/>
                      <a:gd name="T19" fmla="*/ 2147483647 h 117"/>
                      <a:gd name="T20" fmla="*/ 2147483647 w 124"/>
                      <a:gd name="T21" fmla="*/ 2147483647 h 117"/>
                      <a:gd name="T22" fmla="*/ 2147483647 w 124"/>
                      <a:gd name="T23" fmla="*/ 2147483647 h 117"/>
                      <a:gd name="T24" fmla="*/ 2147483647 w 124"/>
                      <a:gd name="T25" fmla="*/ 2147483647 h 117"/>
                      <a:gd name="T26" fmla="*/ 2147483647 w 124"/>
                      <a:gd name="T27" fmla="*/ 2147483647 h 117"/>
                      <a:gd name="T28" fmla="*/ 2147483647 w 124"/>
                      <a:gd name="T29" fmla="*/ 2147483647 h 117"/>
                      <a:gd name="T30" fmla="*/ 2147483647 w 124"/>
                      <a:gd name="T31" fmla="*/ 2147483647 h 117"/>
                      <a:gd name="T32" fmla="*/ 2147483647 w 124"/>
                      <a:gd name="T33" fmla="*/ 2147483647 h 117"/>
                      <a:gd name="T34" fmla="*/ 2147483647 w 124"/>
                      <a:gd name="T35" fmla="*/ 2147483647 h 117"/>
                      <a:gd name="T36" fmla="*/ 2147483647 w 124"/>
                      <a:gd name="T37" fmla="*/ 2147483647 h 117"/>
                      <a:gd name="T38" fmla="*/ 2147483647 w 124"/>
                      <a:gd name="T39" fmla="*/ 2147483647 h 117"/>
                      <a:gd name="T40" fmla="*/ 0 w 124"/>
                      <a:gd name="T41" fmla="*/ 2147483647 h 117"/>
                      <a:gd name="T42" fmla="*/ 2147483647 w 124"/>
                      <a:gd name="T43" fmla="*/ 2147483647 h 117"/>
                      <a:gd name="T44" fmla="*/ 2147483647 w 124"/>
                      <a:gd name="T45" fmla="*/ 2147483647 h 117"/>
                      <a:gd name="T46" fmla="*/ 2147483647 w 124"/>
                      <a:gd name="T47" fmla="*/ 2147483647 h 117"/>
                      <a:gd name="T48" fmla="*/ 2147483647 w 124"/>
                      <a:gd name="T49" fmla="*/ 2147483647 h 117"/>
                      <a:gd name="T50" fmla="*/ 2147483647 w 124"/>
                      <a:gd name="T51" fmla="*/ 2147483647 h 117"/>
                      <a:gd name="T52" fmla="*/ 2147483647 w 124"/>
                      <a:gd name="T53" fmla="*/ 2147483647 h 117"/>
                      <a:gd name="T54" fmla="*/ 2147483647 w 124"/>
                      <a:gd name="T55" fmla="*/ 2147483647 h 117"/>
                      <a:gd name="T56" fmla="*/ 2147483647 w 124"/>
                      <a:gd name="T57" fmla="*/ 2147483647 h 117"/>
                      <a:gd name="T58" fmla="*/ 2147483647 w 124"/>
                      <a:gd name="T59" fmla="*/ 2147483647 h 117"/>
                      <a:gd name="T60" fmla="*/ 2147483647 w 124"/>
                      <a:gd name="T61" fmla="*/ 2147483647 h 117"/>
                      <a:gd name="T62" fmla="*/ 2147483647 w 124"/>
                      <a:gd name="T63" fmla="*/ 2147483647 h 117"/>
                      <a:gd name="T64" fmla="*/ 2147483647 w 124"/>
                      <a:gd name="T65" fmla="*/ 0 h 117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24"/>
                      <a:gd name="T100" fmla="*/ 0 h 117"/>
                      <a:gd name="T101" fmla="*/ 124 w 124"/>
                      <a:gd name="T102" fmla="*/ 117 h 117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24" h="117">
                        <a:moveTo>
                          <a:pt x="113" y="0"/>
                        </a:moveTo>
                        <a:lnTo>
                          <a:pt x="116" y="15"/>
                        </a:lnTo>
                        <a:lnTo>
                          <a:pt x="122" y="35"/>
                        </a:lnTo>
                        <a:lnTo>
                          <a:pt x="124" y="45"/>
                        </a:lnTo>
                        <a:lnTo>
                          <a:pt x="124" y="54"/>
                        </a:lnTo>
                        <a:lnTo>
                          <a:pt x="124" y="59"/>
                        </a:lnTo>
                        <a:lnTo>
                          <a:pt x="123" y="64"/>
                        </a:lnTo>
                        <a:lnTo>
                          <a:pt x="122" y="69"/>
                        </a:lnTo>
                        <a:lnTo>
                          <a:pt x="119" y="73"/>
                        </a:lnTo>
                        <a:lnTo>
                          <a:pt x="114" y="72"/>
                        </a:lnTo>
                        <a:lnTo>
                          <a:pt x="108" y="71"/>
                        </a:lnTo>
                        <a:lnTo>
                          <a:pt x="103" y="72"/>
                        </a:lnTo>
                        <a:lnTo>
                          <a:pt x="96" y="73"/>
                        </a:lnTo>
                        <a:lnTo>
                          <a:pt x="83" y="78"/>
                        </a:lnTo>
                        <a:lnTo>
                          <a:pt x="71" y="85"/>
                        </a:lnTo>
                        <a:lnTo>
                          <a:pt x="46" y="103"/>
                        </a:lnTo>
                        <a:lnTo>
                          <a:pt x="26" y="117"/>
                        </a:lnTo>
                        <a:lnTo>
                          <a:pt x="23" y="112"/>
                        </a:lnTo>
                        <a:lnTo>
                          <a:pt x="13" y="101"/>
                        </a:lnTo>
                        <a:lnTo>
                          <a:pt x="4" y="89"/>
                        </a:lnTo>
                        <a:lnTo>
                          <a:pt x="0" y="79"/>
                        </a:lnTo>
                        <a:lnTo>
                          <a:pt x="1" y="76"/>
                        </a:lnTo>
                        <a:lnTo>
                          <a:pt x="2" y="72"/>
                        </a:lnTo>
                        <a:lnTo>
                          <a:pt x="5" y="67"/>
                        </a:lnTo>
                        <a:lnTo>
                          <a:pt x="9" y="62"/>
                        </a:lnTo>
                        <a:lnTo>
                          <a:pt x="17" y="52"/>
                        </a:lnTo>
                        <a:lnTo>
                          <a:pt x="27" y="42"/>
                        </a:lnTo>
                        <a:lnTo>
                          <a:pt x="48" y="22"/>
                        </a:lnTo>
                        <a:lnTo>
                          <a:pt x="60" y="12"/>
                        </a:lnTo>
                        <a:lnTo>
                          <a:pt x="73" y="12"/>
                        </a:lnTo>
                        <a:lnTo>
                          <a:pt x="86" y="12"/>
                        </a:lnTo>
                        <a:lnTo>
                          <a:pt x="100" y="6"/>
                        </a:lnTo>
                        <a:lnTo>
                          <a:pt x="113" y="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7" name="Freeform 263"/>
                  <p:cNvSpPr>
                    <a:spLocks/>
                  </p:cNvSpPr>
                  <p:nvPr>
                    <p:custDataLst>
                      <p:tags r:id="rId19"/>
                    </p:custDataLst>
                  </p:nvPr>
                </p:nvSpPr>
                <p:spPr bwMode="auto">
                  <a:xfrm>
                    <a:off x="2223162" y="2624007"/>
                    <a:ext cx="255151" cy="139895"/>
                  </a:xfrm>
                  <a:custGeom>
                    <a:avLst/>
                    <a:gdLst>
                      <a:gd name="T0" fmla="*/ 257133 w 180"/>
                      <a:gd name="T1" fmla="*/ 8673 h 112"/>
                      <a:gd name="T2" fmla="*/ 244276 w 180"/>
                      <a:gd name="T3" fmla="*/ 29736 h 112"/>
                      <a:gd name="T4" fmla="*/ 232848 w 180"/>
                      <a:gd name="T5" fmla="*/ 48320 h 112"/>
                      <a:gd name="T6" fmla="*/ 217135 w 180"/>
                      <a:gd name="T7" fmla="*/ 65666 h 112"/>
                      <a:gd name="T8" fmla="*/ 201421 w 180"/>
                      <a:gd name="T9" fmla="*/ 81773 h 112"/>
                      <a:gd name="T10" fmla="*/ 184279 w 180"/>
                      <a:gd name="T11" fmla="*/ 99119 h 112"/>
                      <a:gd name="T12" fmla="*/ 164279 w 180"/>
                      <a:gd name="T13" fmla="*/ 113986 h 112"/>
                      <a:gd name="T14" fmla="*/ 144280 w 180"/>
                      <a:gd name="T15" fmla="*/ 126376 h 112"/>
                      <a:gd name="T16" fmla="*/ 124281 w 180"/>
                      <a:gd name="T17" fmla="*/ 138766 h 112"/>
                      <a:gd name="T18" fmla="*/ 117138 w 180"/>
                      <a:gd name="T19" fmla="*/ 132571 h 112"/>
                      <a:gd name="T20" fmla="*/ 112853 w 180"/>
                      <a:gd name="T21" fmla="*/ 125137 h 112"/>
                      <a:gd name="T22" fmla="*/ 108567 w 180"/>
                      <a:gd name="T23" fmla="*/ 117703 h 112"/>
                      <a:gd name="T24" fmla="*/ 105710 w 180"/>
                      <a:gd name="T25" fmla="*/ 109030 h 112"/>
                      <a:gd name="T26" fmla="*/ 99996 w 180"/>
                      <a:gd name="T27" fmla="*/ 100358 h 112"/>
                      <a:gd name="T28" fmla="*/ 97139 w 180"/>
                      <a:gd name="T29" fmla="*/ 91685 h 112"/>
                      <a:gd name="T30" fmla="*/ 92854 w 180"/>
                      <a:gd name="T31" fmla="*/ 85490 h 112"/>
                      <a:gd name="T32" fmla="*/ 85711 w 180"/>
                      <a:gd name="T33" fmla="*/ 78056 h 112"/>
                      <a:gd name="T34" fmla="*/ 64283 w 180"/>
                      <a:gd name="T35" fmla="*/ 59471 h 112"/>
                      <a:gd name="T36" fmla="*/ 51427 w 180"/>
                      <a:gd name="T37" fmla="*/ 47081 h 112"/>
                      <a:gd name="T38" fmla="*/ 42855 w 180"/>
                      <a:gd name="T39" fmla="*/ 40886 h 112"/>
                      <a:gd name="T40" fmla="*/ 35713 w 180"/>
                      <a:gd name="T41" fmla="*/ 38408 h 112"/>
                      <a:gd name="T42" fmla="*/ 25713 w 180"/>
                      <a:gd name="T43" fmla="*/ 37169 h 112"/>
                      <a:gd name="T44" fmla="*/ 0 w 180"/>
                      <a:gd name="T45" fmla="*/ 32214 h 112"/>
                      <a:gd name="T46" fmla="*/ 37141 w 180"/>
                      <a:gd name="T47" fmla="*/ 17346 h 112"/>
                      <a:gd name="T48" fmla="*/ 58569 w 180"/>
                      <a:gd name="T49" fmla="*/ 11151 h 112"/>
                      <a:gd name="T50" fmla="*/ 79997 w 180"/>
                      <a:gd name="T51" fmla="*/ 6195 h 112"/>
                      <a:gd name="T52" fmla="*/ 105710 w 180"/>
                      <a:gd name="T53" fmla="*/ 3717 h 112"/>
                      <a:gd name="T54" fmla="*/ 132852 w 180"/>
                      <a:gd name="T55" fmla="*/ 1239 h 112"/>
                      <a:gd name="T56" fmla="*/ 162851 w 180"/>
                      <a:gd name="T57" fmla="*/ 0 h 112"/>
                      <a:gd name="T58" fmla="*/ 192850 w 180"/>
                      <a:gd name="T59" fmla="*/ 1239 h 112"/>
                      <a:gd name="T60" fmla="*/ 224277 w 180"/>
                      <a:gd name="T61" fmla="*/ 3717 h 112"/>
                      <a:gd name="T62" fmla="*/ 257133 w 180"/>
                      <a:gd name="T63" fmla="*/ 8673 h 112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w 180"/>
                      <a:gd name="T97" fmla="*/ 0 h 112"/>
                      <a:gd name="T98" fmla="*/ 180 w 180"/>
                      <a:gd name="T99" fmla="*/ 112 h 112"/>
                    </a:gdLst>
                    <a:ahLst/>
                    <a:cxnLst>
                      <a:cxn ang="T64">
                        <a:pos x="T0" y="T1"/>
                      </a:cxn>
                      <a:cxn ang="T65">
                        <a:pos x="T2" y="T3"/>
                      </a:cxn>
                      <a:cxn ang="T66">
                        <a:pos x="T4" y="T5"/>
                      </a:cxn>
                      <a:cxn ang="T67">
                        <a:pos x="T6" y="T7"/>
                      </a:cxn>
                      <a:cxn ang="T68">
                        <a:pos x="T8" y="T9"/>
                      </a:cxn>
                      <a:cxn ang="T69">
                        <a:pos x="T10" y="T11"/>
                      </a:cxn>
                      <a:cxn ang="T70">
                        <a:pos x="T12" y="T13"/>
                      </a:cxn>
                      <a:cxn ang="T71">
                        <a:pos x="T14" y="T15"/>
                      </a:cxn>
                      <a:cxn ang="T72">
                        <a:pos x="T16" y="T17"/>
                      </a:cxn>
                      <a:cxn ang="T73">
                        <a:pos x="T18" y="T19"/>
                      </a:cxn>
                      <a:cxn ang="T74">
                        <a:pos x="T20" y="T21"/>
                      </a:cxn>
                      <a:cxn ang="T75">
                        <a:pos x="T22" y="T23"/>
                      </a:cxn>
                      <a:cxn ang="T76">
                        <a:pos x="T24" y="T25"/>
                      </a:cxn>
                      <a:cxn ang="T77">
                        <a:pos x="T26" y="T27"/>
                      </a:cxn>
                      <a:cxn ang="T78">
                        <a:pos x="T28" y="T29"/>
                      </a:cxn>
                      <a:cxn ang="T79">
                        <a:pos x="T30" y="T31"/>
                      </a:cxn>
                      <a:cxn ang="T80">
                        <a:pos x="T32" y="T33"/>
                      </a:cxn>
                      <a:cxn ang="T81">
                        <a:pos x="T34" y="T35"/>
                      </a:cxn>
                      <a:cxn ang="T82">
                        <a:pos x="T36" y="T37"/>
                      </a:cxn>
                      <a:cxn ang="T83">
                        <a:pos x="T38" y="T39"/>
                      </a:cxn>
                      <a:cxn ang="T84">
                        <a:pos x="T40" y="T41"/>
                      </a:cxn>
                      <a:cxn ang="T85">
                        <a:pos x="T42" y="T43"/>
                      </a:cxn>
                      <a:cxn ang="T86">
                        <a:pos x="T44" y="T45"/>
                      </a:cxn>
                      <a:cxn ang="T87">
                        <a:pos x="T46" y="T47"/>
                      </a:cxn>
                      <a:cxn ang="T88">
                        <a:pos x="T48" y="T49"/>
                      </a:cxn>
                      <a:cxn ang="T89">
                        <a:pos x="T50" y="T51"/>
                      </a:cxn>
                      <a:cxn ang="T90">
                        <a:pos x="T52" y="T53"/>
                      </a:cxn>
                      <a:cxn ang="T91">
                        <a:pos x="T54" y="T55"/>
                      </a:cxn>
                      <a:cxn ang="T92">
                        <a:pos x="T56" y="T57"/>
                      </a:cxn>
                      <a:cxn ang="T93">
                        <a:pos x="T58" y="T59"/>
                      </a:cxn>
                      <a:cxn ang="T94">
                        <a:pos x="T60" y="T61"/>
                      </a:cxn>
                      <a:cxn ang="T95">
                        <a:pos x="T62" y="T63"/>
                      </a:cxn>
                    </a:cxnLst>
                    <a:rect l="T96" t="T97" r="T98" b="T99"/>
                    <a:pathLst>
                      <a:path w="180" h="112">
                        <a:moveTo>
                          <a:pt x="180" y="7"/>
                        </a:moveTo>
                        <a:lnTo>
                          <a:pt x="171" y="24"/>
                        </a:lnTo>
                        <a:lnTo>
                          <a:pt x="163" y="39"/>
                        </a:lnTo>
                        <a:lnTo>
                          <a:pt x="152" y="53"/>
                        </a:lnTo>
                        <a:lnTo>
                          <a:pt x="141" y="66"/>
                        </a:lnTo>
                        <a:lnTo>
                          <a:pt x="129" y="80"/>
                        </a:lnTo>
                        <a:lnTo>
                          <a:pt x="115" y="92"/>
                        </a:lnTo>
                        <a:lnTo>
                          <a:pt x="101" y="102"/>
                        </a:lnTo>
                        <a:lnTo>
                          <a:pt x="87" y="112"/>
                        </a:lnTo>
                        <a:lnTo>
                          <a:pt x="82" y="107"/>
                        </a:lnTo>
                        <a:lnTo>
                          <a:pt x="79" y="101"/>
                        </a:lnTo>
                        <a:lnTo>
                          <a:pt x="76" y="95"/>
                        </a:lnTo>
                        <a:lnTo>
                          <a:pt x="74" y="88"/>
                        </a:lnTo>
                        <a:lnTo>
                          <a:pt x="70" y="81"/>
                        </a:lnTo>
                        <a:lnTo>
                          <a:pt x="68" y="74"/>
                        </a:lnTo>
                        <a:lnTo>
                          <a:pt x="65" y="69"/>
                        </a:lnTo>
                        <a:lnTo>
                          <a:pt x="60" y="63"/>
                        </a:lnTo>
                        <a:lnTo>
                          <a:pt x="45" y="48"/>
                        </a:lnTo>
                        <a:lnTo>
                          <a:pt x="36" y="38"/>
                        </a:lnTo>
                        <a:lnTo>
                          <a:pt x="30" y="33"/>
                        </a:lnTo>
                        <a:lnTo>
                          <a:pt x="25" y="31"/>
                        </a:lnTo>
                        <a:lnTo>
                          <a:pt x="18" y="30"/>
                        </a:lnTo>
                        <a:lnTo>
                          <a:pt x="0" y="26"/>
                        </a:lnTo>
                        <a:lnTo>
                          <a:pt x="26" y="14"/>
                        </a:lnTo>
                        <a:lnTo>
                          <a:pt x="41" y="9"/>
                        </a:lnTo>
                        <a:lnTo>
                          <a:pt x="56" y="5"/>
                        </a:lnTo>
                        <a:lnTo>
                          <a:pt x="74" y="3"/>
                        </a:lnTo>
                        <a:lnTo>
                          <a:pt x="93" y="1"/>
                        </a:lnTo>
                        <a:lnTo>
                          <a:pt x="114" y="0"/>
                        </a:lnTo>
                        <a:lnTo>
                          <a:pt x="135" y="1"/>
                        </a:lnTo>
                        <a:lnTo>
                          <a:pt x="157" y="3"/>
                        </a:lnTo>
                        <a:lnTo>
                          <a:pt x="180" y="7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789" name="Freeform 264">
                    <a:hlinkClick r:id="rId57" action="ppaction://hlinkpres?slideindex=1&amp;slidetitle=" tooltip="Sierra Lione"/>
                  </p:cNvPr>
                  <p:cNvSpPr>
                    <a:spLocks/>
                  </p:cNvSpPr>
                  <p:nvPr>
                    <p:custDataLst>
                      <p:tags r:id="rId20"/>
                    </p:custDataLst>
                  </p:nvPr>
                </p:nvSpPr>
                <p:spPr bwMode="auto">
                  <a:xfrm>
                    <a:off x="2489003" y="2819933"/>
                    <a:ext cx="236963" cy="236278"/>
                  </a:xfrm>
                  <a:custGeom>
                    <a:avLst/>
                    <a:gdLst>
                      <a:gd name="T0" fmla="*/ 0 w 173"/>
                      <a:gd name="T1" fmla="*/ 2147483647 h 192"/>
                      <a:gd name="T2" fmla="*/ 2147483647 w 173"/>
                      <a:gd name="T3" fmla="*/ 2147483647 h 192"/>
                      <a:gd name="T4" fmla="*/ 2147483647 w 173"/>
                      <a:gd name="T5" fmla="*/ 2147483647 h 192"/>
                      <a:gd name="T6" fmla="*/ 2147483647 w 173"/>
                      <a:gd name="T7" fmla="*/ 2147483647 h 192"/>
                      <a:gd name="T8" fmla="*/ 2147483647 w 173"/>
                      <a:gd name="T9" fmla="*/ 2147483647 h 192"/>
                      <a:gd name="T10" fmla="*/ 2147483647 w 173"/>
                      <a:gd name="T11" fmla="*/ 2147483647 h 192"/>
                      <a:gd name="T12" fmla="*/ 2147483647 w 173"/>
                      <a:gd name="T13" fmla="*/ 2147483647 h 192"/>
                      <a:gd name="T14" fmla="*/ 2147483647 w 173"/>
                      <a:gd name="T15" fmla="*/ 2147483647 h 192"/>
                      <a:gd name="T16" fmla="*/ 2147483647 w 173"/>
                      <a:gd name="T17" fmla="*/ 2147483647 h 192"/>
                      <a:gd name="T18" fmla="*/ 2147483647 w 173"/>
                      <a:gd name="T19" fmla="*/ 2147483647 h 192"/>
                      <a:gd name="T20" fmla="*/ 2147483647 w 173"/>
                      <a:gd name="T21" fmla="*/ 0 h 192"/>
                      <a:gd name="T22" fmla="*/ 2147483647 w 173"/>
                      <a:gd name="T23" fmla="*/ 2147483647 h 192"/>
                      <a:gd name="T24" fmla="*/ 2147483647 w 173"/>
                      <a:gd name="T25" fmla="*/ 2147483647 h 192"/>
                      <a:gd name="T26" fmla="*/ 2147483647 w 173"/>
                      <a:gd name="T27" fmla="*/ 2147483647 h 192"/>
                      <a:gd name="T28" fmla="*/ 2147483647 w 173"/>
                      <a:gd name="T29" fmla="*/ 2147483647 h 192"/>
                      <a:gd name="T30" fmla="*/ 2147483647 w 173"/>
                      <a:gd name="T31" fmla="*/ 2147483647 h 192"/>
                      <a:gd name="T32" fmla="*/ 2147483647 w 173"/>
                      <a:gd name="T33" fmla="*/ 2147483647 h 192"/>
                      <a:gd name="T34" fmla="*/ 2147483647 w 173"/>
                      <a:gd name="T35" fmla="*/ 2147483647 h 192"/>
                      <a:gd name="T36" fmla="*/ 2147483647 w 173"/>
                      <a:gd name="T37" fmla="*/ 2147483647 h 192"/>
                      <a:gd name="T38" fmla="*/ 2147483647 w 173"/>
                      <a:gd name="T39" fmla="*/ 2147483647 h 192"/>
                      <a:gd name="T40" fmla="*/ 2147483647 w 173"/>
                      <a:gd name="T41" fmla="*/ 2147483647 h 192"/>
                      <a:gd name="T42" fmla="*/ 2147483647 w 173"/>
                      <a:gd name="T43" fmla="*/ 2147483647 h 192"/>
                      <a:gd name="T44" fmla="*/ 2147483647 w 173"/>
                      <a:gd name="T45" fmla="*/ 2147483647 h 192"/>
                      <a:gd name="T46" fmla="*/ 2147483647 w 173"/>
                      <a:gd name="T47" fmla="*/ 2147483647 h 192"/>
                      <a:gd name="T48" fmla="*/ 2147483647 w 173"/>
                      <a:gd name="T49" fmla="*/ 2147483647 h 192"/>
                      <a:gd name="T50" fmla="*/ 2147483647 w 173"/>
                      <a:gd name="T51" fmla="*/ 2147483647 h 192"/>
                      <a:gd name="T52" fmla="*/ 2147483647 w 173"/>
                      <a:gd name="T53" fmla="*/ 2147483647 h 192"/>
                      <a:gd name="T54" fmla="*/ 2147483647 w 173"/>
                      <a:gd name="T55" fmla="*/ 2147483647 h 192"/>
                      <a:gd name="T56" fmla="*/ 2147483647 w 173"/>
                      <a:gd name="T57" fmla="*/ 2147483647 h 192"/>
                      <a:gd name="T58" fmla="*/ 2147483647 w 173"/>
                      <a:gd name="T59" fmla="*/ 2147483647 h 192"/>
                      <a:gd name="T60" fmla="*/ 2147483647 w 173"/>
                      <a:gd name="T61" fmla="*/ 2147483647 h 192"/>
                      <a:gd name="T62" fmla="*/ 2147483647 w 173"/>
                      <a:gd name="T63" fmla="*/ 2147483647 h 192"/>
                      <a:gd name="T64" fmla="*/ 2147483647 w 173"/>
                      <a:gd name="T65" fmla="*/ 2147483647 h 192"/>
                      <a:gd name="T66" fmla="*/ 2147483647 w 173"/>
                      <a:gd name="T67" fmla="*/ 2147483647 h 192"/>
                      <a:gd name="T68" fmla="*/ 2147483647 w 173"/>
                      <a:gd name="T69" fmla="*/ 2147483647 h 192"/>
                      <a:gd name="T70" fmla="*/ 2147483647 w 173"/>
                      <a:gd name="T71" fmla="*/ 2147483647 h 192"/>
                      <a:gd name="T72" fmla="*/ 2147483647 w 173"/>
                      <a:gd name="T73" fmla="*/ 2147483647 h 192"/>
                      <a:gd name="T74" fmla="*/ 2147483647 w 173"/>
                      <a:gd name="T75" fmla="*/ 2147483647 h 192"/>
                      <a:gd name="T76" fmla="*/ 2147483647 w 173"/>
                      <a:gd name="T77" fmla="*/ 2147483647 h 192"/>
                      <a:gd name="T78" fmla="*/ 2147483647 w 173"/>
                      <a:gd name="T79" fmla="*/ 2147483647 h 192"/>
                      <a:gd name="T80" fmla="*/ 2147483647 w 173"/>
                      <a:gd name="T81" fmla="*/ 2147483647 h 192"/>
                      <a:gd name="T82" fmla="*/ 2147483647 w 173"/>
                      <a:gd name="T83" fmla="*/ 2147483647 h 192"/>
                      <a:gd name="T84" fmla="*/ 0 w 173"/>
                      <a:gd name="T85" fmla="*/ 2147483647 h 192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3"/>
                      <a:gd name="T130" fmla="*/ 0 h 192"/>
                      <a:gd name="T131" fmla="*/ 173 w 173"/>
                      <a:gd name="T132" fmla="*/ 192 h 192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3" h="192">
                        <a:moveTo>
                          <a:pt x="0" y="68"/>
                        </a:moveTo>
                        <a:lnTo>
                          <a:pt x="27" y="42"/>
                        </a:lnTo>
                        <a:lnTo>
                          <a:pt x="51" y="21"/>
                        </a:lnTo>
                        <a:lnTo>
                          <a:pt x="56" y="16"/>
                        </a:lnTo>
                        <a:lnTo>
                          <a:pt x="63" y="12"/>
                        </a:lnTo>
                        <a:lnTo>
                          <a:pt x="70" y="8"/>
                        </a:lnTo>
                        <a:lnTo>
                          <a:pt x="76" y="6"/>
                        </a:lnTo>
                        <a:lnTo>
                          <a:pt x="83" y="3"/>
                        </a:lnTo>
                        <a:lnTo>
                          <a:pt x="90" y="2"/>
                        </a:lnTo>
                        <a:lnTo>
                          <a:pt x="98" y="1"/>
                        </a:lnTo>
                        <a:lnTo>
                          <a:pt x="107" y="0"/>
                        </a:lnTo>
                        <a:lnTo>
                          <a:pt x="116" y="1"/>
                        </a:lnTo>
                        <a:lnTo>
                          <a:pt x="124" y="2"/>
                        </a:lnTo>
                        <a:lnTo>
                          <a:pt x="132" y="5"/>
                        </a:lnTo>
                        <a:lnTo>
                          <a:pt x="139" y="8"/>
                        </a:lnTo>
                        <a:lnTo>
                          <a:pt x="145" y="13"/>
                        </a:lnTo>
                        <a:lnTo>
                          <a:pt x="151" y="19"/>
                        </a:lnTo>
                        <a:lnTo>
                          <a:pt x="155" y="24"/>
                        </a:lnTo>
                        <a:lnTo>
                          <a:pt x="160" y="30"/>
                        </a:lnTo>
                        <a:lnTo>
                          <a:pt x="163" y="37"/>
                        </a:lnTo>
                        <a:lnTo>
                          <a:pt x="166" y="43"/>
                        </a:lnTo>
                        <a:lnTo>
                          <a:pt x="168" y="50"/>
                        </a:lnTo>
                        <a:lnTo>
                          <a:pt x="169" y="57"/>
                        </a:lnTo>
                        <a:lnTo>
                          <a:pt x="172" y="72"/>
                        </a:lnTo>
                        <a:lnTo>
                          <a:pt x="173" y="87"/>
                        </a:lnTo>
                        <a:lnTo>
                          <a:pt x="157" y="114"/>
                        </a:lnTo>
                        <a:lnTo>
                          <a:pt x="146" y="137"/>
                        </a:lnTo>
                        <a:lnTo>
                          <a:pt x="139" y="148"/>
                        </a:lnTo>
                        <a:lnTo>
                          <a:pt x="130" y="160"/>
                        </a:lnTo>
                        <a:lnTo>
                          <a:pt x="117" y="174"/>
                        </a:lnTo>
                        <a:lnTo>
                          <a:pt x="99" y="192"/>
                        </a:lnTo>
                        <a:lnTo>
                          <a:pt x="86" y="183"/>
                        </a:lnTo>
                        <a:lnTo>
                          <a:pt x="74" y="176"/>
                        </a:lnTo>
                        <a:lnTo>
                          <a:pt x="63" y="169"/>
                        </a:lnTo>
                        <a:lnTo>
                          <a:pt x="54" y="163"/>
                        </a:lnTo>
                        <a:lnTo>
                          <a:pt x="46" y="156"/>
                        </a:lnTo>
                        <a:lnTo>
                          <a:pt x="40" y="150"/>
                        </a:lnTo>
                        <a:lnTo>
                          <a:pt x="34" y="144"/>
                        </a:lnTo>
                        <a:lnTo>
                          <a:pt x="30" y="137"/>
                        </a:lnTo>
                        <a:lnTo>
                          <a:pt x="22" y="123"/>
                        </a:lnTo>
                        <a:lnTo>
                          <a:pt x="16" y="107"/>
                        </a:lnTo>
                        <a:lnTo>
                          <a:pt x="9" y="90"/>
                        </a:lnTo>
                        <a:lnTo>
                          <a:pt x="0" y="68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0" name="Freeform 265">
                    <a:hlinkClick r:id="rId57" action="ppaction://hlinkpres?slideindex=1&amp;slidetitle=" tooltip="Liberia"/>
                  </p:cNvPr>
                  <p:cNvSpPr>
                    <a:spLocks/>
                  </p:cNvSpPr>
                  <p:nvPr>
                    <p:custDataLst>
                      <p:tags r:id="rId21"/>
                    </p:custDataLst>
                  </p:nvPr>
                </p:nvSpPr>
                <p:spPr bwMode="auto">
                  <a:xfrm>
                    <a:off x="2625130" y="2939946"/>
                    <a:ext cx="332759" cy="311286"/>
                  </a:xfrm>
                  <a:custGeom>
                    <a:avLst/>
                    <a:gdLst>
                      <a:gd name="T0" fmla="*/ 2147483647 w 233"/>
                      <a:gd name="T1" fmla="*/ 0 h 252"/>
                      <a:gd name="T2" fmla="*/ 2147483647 w 233"/>
                      <a:gd name="T3" fmla="*/ 2147483647 h 252"/>
                      <a:gd name="T4" fmla="*/ 2147483647 w 233"/>
                      <a:gd name="T5" fmla="*/ 2147483647 h 252"/>
                      <a:gd name="T6" fmla="*/ 2147483647 w 233"/>
                      <a:gd name="T7" fmla="*/ 2147483647 h 252"/>
                      <a:gd name="T8" fmla="*/ 2147483647 w 233"/>
                      <a:gd name="T9" fmla="*/ 2147483647 h 252"/>
                      <a:gd name="T10" fmla="*/ 2147483647 w 233"/>
                      <a:gd name="T11" fmla="*/ 2147483647 h 252"/>
                      <a:gd name="T12" fmla="*/ 2147483647 w 233"/>
                      <a:gd name="T13" fmla="*/ 0 h 252"/>
                      <a:gd name="T14" fmla="*/ 2147483647 w 233"/>
                      <a:gd name="T15" fmla="*/ 2147483647 h 252"/>
                      <a:gd name="T16" fmla="*/ 2147483647 w 233"/>
                      <a:gd name="T17" fmla="*/ 2147483647 h 252"/>
                      <a:gd name="T18" fmla="*/ 2147483647 w 233"/>
                      <a:gd name="T19" fmla="*/ 2147483647 h 252"/>
                      <a:gd name="T20" fmla="*/ 2147483647 w 233"/>
                      <a:gd name="T21" fmla="*/ 2147483647 h 252"/>
                      <a:gd name="T22" fmla="*/ 2147483647 w 233"/>
                      <a:gd name="T23" fmla="*/ 2147483647 h 252"/>
                      <a:gd name="T24" fmla="*/ 2147483647 w 233"/>
                      <a:gd name="T25" fmla="*/ 2147483647 h 252"/>
                      <a:gd name="T26" fmla="*/ 2147483647 w 233"/>
                      <a:gd name="T27" fmla="*/ 2147483647 h 252"/>
                      <a:gd name="T28" fmla="*/ 2147483647 w 233"/>
                      <a:gd name="T29" fmla="*/ 2147483647 h 252"/>
                      <a:gd name="T30" fmla="*/ 2147483647 w 233"/>
                      <a:gd name="T31" fmla="*/ 2147483647 h 252"/>
                      <a:gd name="T32" fmla="*/ 2147483647 w 233"/>
                      <a:gd name="T33" fmla="*/ 2147483647 h 252"/>
                      <a:gd name="T34" fmla="*/ 2147483647 w 233"/>
                      <a:gd name="T35" fmla="*/ 2147483647 h 252"/>
                      <a:gd name="T36" fmla="*/ 2147483647 w 233"/>
                      <a:gd name="T37" fmla="*/ 2147483647 h 252"/>
                      <a:gd name="T38" fmla="*/ 2147483647 w 233"/>
                      <a:gd name="T39" fmla="*/ 2147483647 h 252"/>
                      <a:gd name="T40" fmla="*/ 2147483647 w 233"/>
                      <a:gd name="T41" fmla="*/ 2147483647 h 252"/>
                      <a:gd name="T42" fmla="*/ 2147483647 w 233"/>
                      <a:gd name="T43" fmla="*/ 2147483647 h 252"/>
                      <a:gd name="T44" fmla="*/ 2147483647 w 233"/>
                      <a:gd name="T45" fmla="*/ 2147483647 h 252"/>
                      <a:gd name="T46" fmla="*/ 2147483647 w 233"/>
                      <a:gd name="T47" fmla="*/ 2147483647 h 252"/>
                      <a:gd name="T48" fmla="*/ 2147483647 w 233"/>
                      <a:gd name="T49" fmla="*/ 2147483647 h 252"/>
                      <a:gd name="T50" fmla="*/ 2147483647 w 233"/>
                      <a:gd name="T51" fmla="*/ 2147483647 h 252"/>
                      <a:gd name="T52" fmla="*/ 2147483647 w 233"/>
                      <a:gd name="T53" fmla="*/ 2147483647 h 252"/>
                      <a:gd name="T54" fmla="*/ 2147483647 w 233"/>
                      <a:gd name="T55" fmla="*/ 2147483647 h 252"/>
                      <a:gd name="T56" fmla="*/ 2147483647 w 233"/>
                      <a:gd name="T57" fmla="*/ 2147483647 h 252"/>
                      <a:gd name="T58" fmla="*/ 2147483647 w 233"/>
                      <a:gd name="T59" fmla="*/ 2147483647 h 252"/>
                      <a:gd name="T60" fmla="*/ 2147483647 w 233"/>
                      <a:gd name="T61" fmla="*/ 2147483647 h 252"/>
                      <a:gd name="T62" fmla="*/ 2147483647 w 233"/>
                      <a:gd name="T63" fmla="*/ 2147483647 h 252"/>
                      <a:gd name="T64" fmla="*/ 2147483647 w 233"/>
                      <a:gd name="T65" fmla="*/ 2147483647 h 252"/>
                      <a:gd name="T66" fmla="*/ 2147483647 w 233"/>
                      <a:gd name="T67" fmla="*/ 2147483647 h 252"/>
                      <a:gd name="T68" fmla="*/ 2147483647 w 233"/>
                      <a:gd name="T69" fmla="*/ 2147483647 h 252"/>
                      <a:gd name="T70" fmla="*/ 2147483647 w 233"/>
                      <a:gd name="T71" fmla="*/ 2147483647 h 252"/>
                      <a:gd name="T72" fmla="*/ 2147483647 w 233"/>
                      <a:gd name="T73" fmla="*/ 2147483647 h 252"/>
                      <a:gd name="T74" fmla="*/ 2147483647 w 233"/>
                      <a:gd name="T75" fmla="*/ 2147483647 h 252"/>
                      <a:gd name="T76" fmla="*/ 2147483647 w 233"/>
                      <a:gd name="T77" fmla="*/ 2147483647 h 252"/>
                      <a:gd name="T78" fmla="*/ 2147483647 w 233"/>
                      <a:gd name="T79" fmla="*/ 2147483647 h 252"/>
                      <a:gd name="T80" fmla="*/ 2147483647 w 233"/>
                      <a:gd name="T81" fmla="*/ 2147483647 h 252"/>
                      <a:gd name="T82" fmla="*/ 2147483647 w 233"/>
                      <a:gd name="T83" fmla="*/ 2147483647 h 252"/>
                      <a:gd name="T84" fmla="*/ 2147483647 w 233"/>
                      <a:gd name="T85" fmla="*/ 2147483647 h 252"/>
                      <a:gd name="T86" fmla="*/ 2147483647 w 233"/>
                      <a:gd name="T87" fmla="*/ 2147483647 h 252"/>
                      <a:gd name="T88" fmla="*/ 2147483647 w 233"/>
                      <a:gd name="T89" fmla="*/ 2147483647 h 252"/>
                      <a:gd name="T90" fmla="*/ 2147483647 w 233"/>
                      <a:gd name="T91" fmla="*/ 2147483647 h 252"/>
                      <a:gd name="T92" fmla="*/ 2147483647 w 233"/>
                      <a:gd name="T93" fmla="*/ 2147483647 h 252"/>
                      <a:gd name="T94" fmla="*/ 0 w 233"/>
                      <a:gd name="T95" fmla="*/ 2147483647 h 252"/>
                      <a:gd name="T96" fmla="*/ 2147483647 w 233"/>
                      <a:gd name="T97" fmla="*/ 2147483647 h 252"/>
                      <a:gd name="T98" fmla="*/ 2147483647 w 233"/>
                      <a:gd name="T99" fmla="*/ 2147483647 h 252"/>
                      <a:gd name="T100" fmla="*/ 2147483647 w 233"/>
                      <a:gd name="T101" fmla="*/ 2147483647 h 252"/>
                      <a:gd name="T102" fmla="*/ 2147483647 w 233"/>
                      <a:gd name="T103" fmla="*/ 2147483647 h 252"/>
                      <a:gd name="T104" fmla="*/ 2147483647 w 233"/>
                      <a:gd name="T105" fmla="*/ 2147483647 h 252"/>
                      <a:gd name="T106" fmla="*/ 2147483647 w 233"/>
                      <a:gd name="T107" fmla="*/ 0 h 25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33"/>
                      <a:gd name="T163" fmla="*/ 0 h 252"/>
                      <a:gd name="T164" fmla="*/ 233 w 233"/>
                      <a:gd name="T165" fmla="*/ 252 h 252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33" h="252">
                        <a:moveTo>
                          <a:pt x="74" y="0"/>
                        </a:moveTo>
                        <a:lnTo>
                          <a:pt x="83" y="2"/>
                        </a:lnTo>
                        <a:lnTo>
                          <a:pt x="89" y="3"/>
                        </a:lnTo>
                        <a:lnTo>
                          <a:pt x="95" y="3"/>
                        </a:lnTo>
                        <a:lnTo>
                          <a:pt x="99" y="2"/>
                        </a:lnTo>
                        <a:lnTo>
                          <a:pt x="106" y="1"/>
                        </a:lnTo>
                        <a:lnTo>
                          <a:pt x="113" y="0"/>
                        </a:lnTo>
                        <a:lnTo>
                          <a:pt x="125" y="17"/>
                        </a:lnTo>
                        <a:lnTo>
                          <a:pt x="140" y="37"/>
                        </a:lnTo>
                        <a:lnTo>
                          <a:pt x="144" y="42"/>
                        </a:lnTo>
                        <a:lnTo>
                          <a:pt x="148" y="46"/>
                        </a:lnTo>
                        <a:lnTo>
                          <a:pt x="153" y="49"/>
                        </a:lnTo>
                        <a:lnTo>
                          <a:pt x="157" y="52"/>
                        </a:lnTo>
                        <a:lnTo>
                          <a:pt x="163" y="54"/>
                        </a:lnTo>
                        <a:lnTo>
                          <a:pt x="168" y="56"/>
                        </a:lnTo>
                        <a:lnTo>
                          <a:pt x="174" y="56"/>
                        </a:lnTo>
                        <a:lnTo>
                          <a:pt x="180" y="56"/>
                        </a:lnTo>
                        <a:lnTo>
                          <a:pt x="180" y="80"/>
                        </a:lnTo>
                        <a:lnTo>
                          <a:pt x="193" y="103"/>
                        </a:lnTo>
                        <a:lnTo>
                          <a:pt x="212" y="128"/>
                        </a:lnTo>
                        <a:lnTo>
                          <a:pt x="215" y="135"/>
                        </a:lnTo>
                        <a:lnTo>
                          <a:pt x="220" y="142"/>
                        </a:lnTo>
                        <a:lnTo>
                          <a:pt x="223" y="151"/>
                        </a:lnTo>
                        <a:lnTo>
                          <a:pt x="226" y="160"/>
                        </a:lnTo>
                        <a:lnTo>
                          <a:pt x="230" y="170"/>
                        </a:lnTo>
                        <a:lnTo>
                          <a:pt x="232" y="180"/>
                        </a:lnTo>
                        <a:lnTo>
                          <a:pt x="233" y="191"/>
                        </a:lnTo>
                        <a:lnTo>
                          <a:pt x="233" y="204"/>
                        </a:lnTo>
                        <a:lnTo>
                          <a:pt x="232" y="216"/>
                        </a:lnTo>
                        <a:lnTo>
                          <a:pt x="230" y="228"/>
                        </a:lnTo>
                        <a:lnTo>
                          <a:pt x="227" y="240"/>
                        </a:lnTo>
                        <a:lnTo>
                          <a:pt x="226" y="252"/>
                        </a:lnTo>
                        <a:lnTo>
                          <a:pt x="222" y="252"/>
                        </a:lnTo>
                        <a:lnTo>
                          <a:pt x="215" y="250"/>
                        </a:lnTo>
                        <a:lnTo>
                          <a:pt x="208" y="246"/>
                        </a:lnTo>
                        <a:lnTo>
                          <a:pt x="198" y="241"/>
                        </a:lnTo>
                        <a:lnTo>
                          <a:pt x="176" y="226"/>
                        </a:lnTo>
                        <a:lnTo>
                          <a:pt x="151" y="208"/>
                        </a:lnTo>
                        <a:lnTo>
                          <a:pt x="125" y="186"/>
                        </a:lnTo>
                        <a:lnTo>
                          <a:pt x="100" y="165"/>
                        </a:lnTo>
                        <a:lnTo>
                          <a:pt x="78" y="145"/>
                        </a:lnTo>
                        <a:lnTo>
                          <a:pt x="61" y="129"/>
                        </a:lnTo>
                        <a:lnTo>
                          <a:pt x="55" y="125"/>
                        </a:lnTo>
                        <a:lnTo>
                          <a:pt x="48" y="120"/>
                        </a:lnTo>
                        <a:lnTo>
                          <a:pt x="41" y="116"/>
                        </a:lnTo>
                        <a:lnTo>
                          <a:pt x="33" y="112"/>
                        </a:lnTo>
                        <a:lnTo>
                          <a:pt x="17" y="104"/>
                        </a:lnTo>
                        <a:lnTo>
                          <a:pt x="0" y="99"/>
                        </a:lnTo>
                        <a:lnTo>
                          <a:pt x="40" y="63"/>
                        </a:lnTo>
                        <a:lnTo>
                          <a:pt x="59" y="43"/>
                        </a:lnTo>
                        <a:lnTo>
                          <a:pt x="65" y="33"/>
                        </a:lnTo>
                        <a:lnTo>
                          <a:pt x="69" y="25"/>
                        </a:lnTo>
                        <a:lnTo>
                          <a:pt x="72" y="14"/>
                        </a:lnTo>
                        <a:lnTo>
                          <a:pt x="74" y="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1" name="Freeform 266">
                    <a:hlinkClick r:id="rId57" action="ppaction://hlinkpres?slideindex=1&amp;slidetitle=" tooltip="Ghana"/>
                  </p:cNvPr>
                  <p:cNvSpPr>
                    <a:spLocks/>
                  </p:cNvSpPr>
                  <p:nvPr>
                    <p:custDataLst>
                      <p:tags r:id="rId22"/>
                    </p:custDataLst>
                  </p:nvPr>
                </p:nvSpPr>
                <p:spPr bwMode="auto">
                  <a:xfrm>
                    <a:off x="3305774" y="2748675"/>
                    <a:ext cx="332759" cy="476301"/>
                  </a:xfrm>
                  <a:custGeom>
                    <a:avLst/>
                    <a:gdLst>
                      <a:gd name="T0" fmla="*/ 2147483647 w 246"/>
                      <a:gd name="T1" fmla="*/ 2147483647 h 380"/>
                      <a:gd name="T2" fmla="*/ 2147483647 w 246"/>
                      <a:gd name="T3" fmla="*/ 2147483647 h 380"/>
                      <a:gd name="T4" fmla="*/ 2147483647 w 246"/>
                      <a:gd name="T5" fmla="*/ 2147483647 h 380"/>
                      <a:gd name="T6" fmla="*/ 2147483647 w 246"/>
                      <a:gd name="T7" fmla="*/ 2147483647 h 380"/>
                      <a:gd name="T8" fmla="*/ 2147483647 w 246"/>
                      <a:gd name="T9" fmla="*/ 2147483647 h 380"/>
                      <a:gd name="T10" fmla="*/ 2147483647 w 246"/>
                      <a:gd name="T11" fmla="*/ 2147483647 h 380"/>
                      <a:gd name="T12" fmla="*/ 2147483647 w 246"/>
                      <a:gd name="T13" fmla="*/ 2147483647 h 380"/>
                      <a:gd name="T14" fmla="*/ 2147483647 w 246"/>
                      <a:gd name="T15" fmla="*/ 2147483647 h 380"/>
                      <a:gd name="T16" fmla="*/ 2147483647 w 246"/>
                      <a:gd name="T17" fmla="*/ 2147483647 h 380"/>
                      <a:gd name="T18" fmla="*/ 2147483647 w 246"/>
                      <a:gd name="T19" fmla="*/ 2147483647 h 380"/>
                      <a:gd name="T20" fmla="*/ 2147483647 w 246"/>
                      <a:gd name="T21" fmla="*/ 2147483647 h 380"/>
                      <a:gd name="T22" fmla="*/ 2147483647 w 246"/>
                      <a:gd name="T23" fmla="*/ 2147483647 h 380"/>
                      <a:gd name="T24" fmla="*/ 2147483647 w 246"/>
                      <a:gd name="T25" fmla="*/ 2147483647 h 380"/>
                      <a:gd name="T26" fmla="*/ 2147483647 w 246"/>
                      <a:gd name="T27" fmla="*/ 2147483647 h 380"/>
                      <a:gd name="T28" fmla="*/ 0 w 246"/>
                      <a:gd name="T29" fmla="*/ 2147483647 h 380"/>
                      <a:gd name="T30" fmla="*/ 2147483647 w 246"/>
                      <a:gd name="T31" fmla="*/ 2147483647 h 380"/>
                      <a:gd name="T32" fmla="*/ 2147483647 w 246"/>
                      <a:gd name="T33" fmla="*/ 2147483647 h 380"/>
                      <a:gd name="T34" fmla="*/ 2147483647 w 246"/>
                      <a:gd name="T35" fmla="*/ 2147483647 h 380"/>
                      <a:gd name="T36" fmla="*/ 2147483647 w 246"/>
                      <a:gd name="T37" fmla="*/ 2147483647 h 380"/>
                      <a:gd name="T38" fmla="*/ 2147483647 w 246"/>
                      <a:gd name="T39" fmla="*/ 2147483647 h 380"/>
                      <a:gd name="T40" fmla="*/ 2147483647 w 246"/>
                      <a:gd name="T41" fmla="*/ 2147483647 h 380"/>
                      <a:gd name="T42" fmla="*/ 2147483647 w 246"/>
                      <a:gd name="T43" fmla="*/ 2147483647 h 380"/>
                      <a:gd name="T44" fmla="*/ 2147483647 w 246"/>
                      <a:gd name="T45" fmla="*/ 2147483647 h 380"/>
                      <a:gd name="T46" fmla="*/ 2147483647 w 246"/>
                      <a:gd name="T47" fmla="*/ 2147483647 h 380"/>
                      <a:gd name="T48" fmla="*/ 2147483647 w 246"/>
                      <a:gd name="T49" fmla="*/ 2147483647 h 380"/>
                      <a:gd name="T50" fmla="*/ 2147483647 w 246"/>
                      <a:gd name="T51" fmla="*/ 2147483647 h 380"/>
                      <a:gd name="T52" fmla="*/ 2147483647 w 246"/>
                      <a:gd name="T53" fmla="*/ 2147483647 h 380"/>
                      <a:gd name="T54" fmla="*/ 2147483647 w 246"/>
                      <a:gd name="T55" fmla="*/ 2147483647 h 380"/>
                      <a:gd name="T56" fmla="*/ 2147483647 w 246"/>
                      <a:gd name="T57" fmla="*/ 2147483647 h 380"/>
                      <a:gd name="T58" fmla="*/ 2147483647 w 246"/>
                      <a:gd name="T59" fmla="*/ 2147483647 h 380"/>
                      <a:gd name="T60" fmla="*/ 2147483647 w 246"/>
                      <a:gd name="T61" fmla="*/ 2147483647 h 380"/>
                      <a:gd name="T62" fmla="*/ 2147483647 w 246"/>
                      <a:gd name="T63" fmla="*/ 0 h 380"/>
                      <a:gd name="T64" fmla="*/ 2147483647 w 246"/>
                      <a:gd name="T65" fmla="*/ 0 h 380"/>
                      <a:gd name="T66" fmla="*/ 2147483647 w 246"/>
                      <a:gd name="T67" fmla="*/ 2147483647 h 380"/>
                      <a:gd name="T68" fmla="*/ 2147483647 w 246"/>
                      <a:gd name="T69" fmla="*/ 2147483647 h 380"/>
                      <a:gd name="T70" fmla="*/ 2147483647 w 246"/>
                      <a:gd name="T71" fmla="*/ 2147483647 h 380"/>
                      <a:gd name="T72" fmla="*/ 2147483647 w 246"/>
                      <a:gd name="T73" fmla="*/ 2147483647 h 380"/>
                      <a:gd name="T74" fmla="*/ 2147483647 w 246"/>
                      <a:gd name="T75" fmla="*/ 2147483647 h 380"/>
                      <a:gd name="T76" fmla="*/ 2147483647 w 246"/>
                      <a:gd name="T77" fmla="*/ 2147483647 h 380"/>
                      <a:gd name="T78" fmla="*/ 2147483647 w 246"/>
                      <a:gd name="T79" fmla="*/ 2147483647 h 380"/>
                      <a:gd name="T80" fmla="*/ 2147483647 w 246"/>
                      <a:gd name="T81" fmla="*/ 2147483647 h 380"/>
                      <a:gd name="T82" fmla="*/ 2147483647 w 246"/>
                      <a:gd name="T83" fmla="*/ 2147483647 h 380"/>
                      <a:gd name="T84" fmla="*/ 2147483647 w 246"/>
                      <a:gd name="T85" fmla="*/ 2147483647 h 380"/>
                      <a:gd name="T86" fmla="*/ 2147483647 w 246"/>
                      <a:gd name="T87" fmla="*/ 2147483647 h 380"/>
                      <a:gd name="T88" fmla="*/ 2147483647 w 246"/>
                      <a:gd name="T89" fmla="*/ 2147483647 h 380"/>
                      <a:gd name="T90" fmla="*/ 2147483647 w 246"/>
                      <a:gd name="T91" fmla="*/ 2147483647 h 380"/>
                      <a:gd name="T92" fmla="*/ 2147483647 w 246"/>
                      <a:gd name="T93" fmla="*/ 2147483647 h 380"/>
                      <a:gd name="T94" fmla="*/ 2147483647 w 246"/>
                      <a:gd name="T95" fmla="*/ 2147483647 h 380"/>
                      <a:gd name="T96" fmla="*/ 2147483647 w 246"/>
                      <a:gd name="T97" fmla="*/ 2147483647 h 380"/>
                      <a:gd name="T98" fmla="*/ 2147483647 w 246"/>
                      <a:gd name="T99" fmla="*/ 2147483647 h 380"/>
                      <a:gd name="T100" fmla="*/ 2147483647 w 246"/>
                      <a:gd name="T101" fmla="*/ 2147483647 h 380"/>
                      <a:gd name="T102" fmla="*/ 2147483647 w 246"/>
                      <a:gd name="T103" fmla="*/ 2147483647 h 380"/>
                      <a:gd name="T104" fmla="*/ 2147483647 w 246"/>
                      <a:gd name="T105" fmla="*/ 2147483647 h 380"/>
                      <a:gd name="T106" fmla="*/ 2147483647 w 246"/>
                      <a:gd name="T107" fmla="*/ 2147483647 h 380"/>
                      <a:gd name="T108" fmla="*/ 2147483647 w 246"/>
                      <a:gd name="T109" fmla="*/ 2147483647 h 380"/>
                      <a:gd name="T110" fmla="*/ 2147483647 w 246"/>
                      <a:gd name="T111" fmla="*/ 2147483647 h 380"/>
                      <a:gd name="T112" fmla="*/ 2147483647 w 246"/>
                      <a:gd name="T113" fmla="*/ 2147483647 h 380"/>
                      <a:gd name="T114" fmla="*/ 2147483647 w 246"/>
                      <a:gd name="T115" fmla="*/ 2147483647 h 380"/>
                      <a:gd name="T116" fmla="*/ 2147483647 w 246"/>
                      <a:gd name="T117" fmla="*/ 2147483647 h 380"/>
                      <a:gd name="T118" fmla="*/ 2147483647 w 246"/>
                      <a:gd name="T119" fmla="*/ 2147483647 h 380"/>
                      <a:gd name="T120" fmla="*/ 2147483647 w 246"/>
                      <a:gd name="T121" fmla="*/ 2147483647 h 380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246"/>
                      <a:gd name="T184" fmla="*/ 0 h 380"/>
                      <a:gd name="T185" fmla="*/ 246 w 246"/>
                      <a:gd name="T186" fmla="*/ 380 h 380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246" h="380">
                        <a:moveTo>
                          <a:pt x="13" y="376"/>
                        </a:moveTo>
                        <a:lnTo>
                          <a:pt x="14" y="367"/>
                        </a:lnTo>
                        <a:lnTo>
                          <a:pt x="15" y="359"/>
                        </a:lnTo>
                        <a:lnTo>
                          <a:pt x="18" y="351"/>
                        </a:lnTo>
                        <a:lnTo>
                          <a:pt x="20" y="344"/>
                        </a:lnTo>
                        <a:lnTo>
                          <a:pt x="25" y="333"/>
                        </a:lnTo>
                        <a:lnTo>
                          <a:pt x="26" y="327"/>
                        </a:lnTo>
                        <a:lnTo>
                          <a:pt x="25" y="321"/>
                        </a:lnTo>
                        <a:lnTo>
                          <a:pt x="23" y="314"/>
                        </a:lnTo>
                        <a:lnTo>
                          <a:pt x="19" y="305"/>
                        </a:lnTo>
                        <a:lnTo>
                          <a:pt x="13" y="295"/>
                        </a:lnTo>
                        <a:lnTo>
                          <a:pt x="9" y="285"/>
                        </a:lnTo>
                        <a:lnTo>
                          <a:pt x="4" y="275"/>
                        </a:lnTo>
                        <a:lnTo>
                          <a:pt x="1" y="267"/>
                        </a:lnTo>
                        <a:lnTo>
                          <a:pt x="0" y="259"/>
                        </a:lnTo>
                        <a:lnTo>
                          <a:pt x="1" y="251"/>
                        </a:lnTo>
                        <a:lnTo>
                          <a:pt x="2" y="243"/>
                        </a:lnTo>
                        <a:lnTo>
                          <a:pt x="3" y="236"/>
                        </a:lnTo>
                        <a:lnTo>
                          <a:pt x="6" y="230"/>
                        </a:lnTo>
                        <a:lnTo>
                          <a:pt x="11" y="218"/>
                        </a:lnTo>
                        <a:lnTo>
                          <a:pt x="19" y="207"/>
                        </a:lnTo>
                        <a:lnTo>
                          <a:pt x="26" y="197"/>
                        </a:lnTo>
                        <a:lnTo>
                          <a:pt x="34" y="185"/>
                        </a:lnTo>
                        <a:lnTo>
                          <a:pt x="41" y="173"/>
                        </a:lnTo>
                        <a:lnTo>
                          <a:pt x="47" y="160"/>
                        </a:lnTo>
                        <a:lnTo>
                          <a:pt x="26" y="73"/>
                        </a:lnTo>
                        <a:lnTo>
                          <a:pt x="26" y="50"/>
                        </a:lnTo>
                        <a:lnTo>
                          <a:pt x="24" y="33"/>
                        </a:lnTo>
                        <a:lnTo>
                          <a:pt x="24" y="25"/>
                        </a:lnTo>
                        <a:lnTo>
                          <a:pt x="24" y="16"/>
                        </a:lnTo>
                        <a:lnTo>
                          <a:pt x="25" y="8"/>
                        </a:lnTo>
                        <a:lnTo>
                          <a:pt x="26" y="0"/>
                        </a:lnTo>
                        <a:lnTo>
                          <a:pt x="180" y="0"/>
                        </a:lnTo>
                        <a:lnTo>
                          <a:pt x="220" y="129"/>
                        </a:lnTo>
                        <a:lnTo>
                          <a:pt x="220" y="210"/>
                        </a:lnTo>
                        <a:lnTo>
                          <a:pt x="220" y="220"/>
                        </a:lnTo>
                        <a:lnTo>
                          <a:pt x="221" y="230"/>
                        </a:lnTo>
                        <a:lnTo>
                          <a:pt x="223" y="240"/>
                        </a:lnTo>
                        <a:lnTo>
                          <a:pt x="225" y="250"/>
                        </a:lnTo>
                        <a:lnTo>
                          <a:pt x="228" y="259"/>
                        </a:lnTo>
                        <a:lnTo>
                          <a:pt x="234" y="268"/>
                        </a:lnTo>
                        <a:lnTo>
                          <a:pt x="239" y="278"/>
                        </a:lnTo>
                        <a:lnTo>
                          <a:pt x="246" y="289"/>
                        </a:lnTo>
                        <a:lnTo>
                          <a:pt x="224" y="295"/>
                        </a:lnTo>
                        <a:lnTo>
                          <a:pt x="202" y="302"/>
                        </a:lnTo>
                        <a:lnTo>
                          <a:pt x="181" y="310"/>
                        </a:lnTo>
                        <a:lnTo>
                          <a:pt x="160" y="319"/>
                        </a:lnTo>
                        <a:lnTo>
                          <a:pt x="141" y="328"/>
                        </a:lnTo>
                        <a:lnTo>
                          <a:pt x="120" y="338"/>
                        </a:lnTo>
                        <a:lnTo>
                          <a:pt x="100" y="347"/>
                        </a:lnTo>
                        <a:lnTo>
                          <a:pt x="80" y="358"/>
                        </a:lnTo>
                        <a:lnTo>
                          <a:pt x="75" y="363"/>
                        </a:lnTo>
                        <a:lnTo>
                          <a:pt x="69" y="367"/>
                        </a:lnTo>
                        <a:lnTo>
                          <a:pt x="62" y="372"/>
                        </a:lnTo>
                        <a:lnTo>
                          <a:pt x="54" y="376"/>
                        </a:lnTo>
                        <a:lnTo>
                          <a:pt x="46" y="379"/>
                        </a:lnTo>
                        <a:lnTo>
                          <a:pt x="36" y="380"/>
                        </a:lnTo>
                        <a:lnTo>
                          <a:pt x="31" y="380"/>
                        </a:lnTo>
                        <a:lnTo>
                          <a:pt x="25" y="379"/>
                        </a:lnTo>
                        <a:lnTo>
                          <a:pt x="20" y="378"/>
                        </a:lnTo>
                        <a:lnTo>
                          <a:pt x="13" y="376"/>
                        </a:lnTo>
                      </a:path>
                    </a:pathLst>
                  </a:custGeom>
                  <a:solidFill>
                    <a:srgbClr val="0671BA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2" name="Freeform 267">
                    <a:hlinkClick r:id="rId57" action="ppaction://hlinkpres?slideindex=1&amp;slidetitle=" tooltip="Gambia"/>
                  </p:cNvPr>
                  <p:cNvSpPr>
                    <a:spLocks/>
                  </p:cNvSpPr>
                  <p:nvPr>
                    <p:custDataLst>
                      <p:tags r:id="rId23"/>
                    </p:custDataLst>
                  </p:nvPr>
                </p:nvSpPr>
                <p:spPr bwMode="auto">
                  <a:xfrm>
                    <a:off x="2201619" y="2549902"/>
                    <a:ext cx="277300" cy="138766"/>
                  </a:xfrm>
                  <a:custGeom>
                    <a:avLst/>
                    <a:gdLst>
                      <a:gd name="T0" fmla="*/ 2147483647 w 193"/>
                      <a:gd name="T1" fmla="*/ 2147483647 h 38"/>
                      <a:gd name="T2" fmla="*/ 2147483647 w 193"/>
                      <a:gd name="T3" fmla="*/ 2147483647 h 38"/>
                      <a:gd name="T4" fmla="*/ 2147483647 w 193"/>
                      <a:gd name="T5" fmla="*/ 2147483647 h 38"/>
                      <a:gd name="T6" fmla="*/ 2147483647 w 193"/>
                      <a:gd name="T7" fmla="*/ 2147483647 h 38"/>
                      <a:gd name="T8" fmla="*/ 2147483647 w 193"/>
                      <a:gd name="T9" fmla="*/ 2147483647 h 38"/>
                      <a:gd name="T10" fmla="*/ 2147483647 w 193"/>
                      <a:gd name="T11" fmla="*/ 2147483647 h 38"/>
                      <a:gd name="T12" fmla="*/ 2147483647 w 193"/>
                      <a:gd name="T13" fmla="*/ 0 h 38"/>
                      <a:gd name="T14" fmla="*/ 2147483647 w 193"/>
                      <a:gd name="T15" fmla="*/ 2147483647 h 38"/>
                      <a:gd name="T16" fmla="*/ 2147483647 w 193"/>
                      <a:gd name="T17" fmla="*/ 2147483647 h 38"/>
                      <a:gd name="T18" fmla="*/ 2147483647 w 193"/>
                      <a:gd name="T19" fmla="*/ 2147483647 h 38"/>
                      <a:gd name="T20" fmla="*/ 2147483647 w 193"/>
                      <a:gd name="T21" fmla="*/ 2147483647 h 38"/>
                      <a:gd name="T22" fmla="*/ 2147483647 w 193"/>
                      <a:gd name="T23" fmla="*/ 2147483647 h 38"/>
                      <a:gd name="T24" fmla="*/ 2147483647 w 193"/>
                      <a:gd name="T25" fmla="*/ 2147483647 h 38"/>
                      <a:gd name="T26" fmla="*/ 2147483647 w 193"/>
                      <a:gd name="T27" fmla="*/ 2147483647 h 38"/>
                      <a:gd name="T28" fmla="*/ 2147483647 w 193"/>
                      <a:gd name="T29" fmla="*/ 2147483647 h 38"/>
                      <a:gd name="T30" fmla="*/ 2147483647 w 193"/>
                      <a:gd name="T31" fmla="*/ 2147483647 h 38"/>
                      <a:gd name="T32" fmla="*/ 2147483647 w 193"/>
                      <a:gd name="T33" fmla="*/ 2147483647 h 38"/>
                      <a:gd name="T34" fmla="*/ 2147483647 w 193"/>
                      <a:gd name="T35" fmla="*/ 2147483647 h 38"/>
                      <a:gd name="T36" fmla="*/ 2147483647 w 193"/>
                      <a:gd name="T37" fmla="*/ 2147483647 h 38"/>
                      <a:gd name="T38" fmla="*/ 2147483647 w 193"/>
                      <a:gd name="T39" fmla="*/ 2147483647 h 38"/>
                      <a:gd name="T40" fmla="*/ 2147483647 w 193"/>
                      <a:gd name="T41" fmla="*/ 2147483647 h 38"/>
                      <a:gd name="T42" fmla="*/ 2147483647 w 193"/>
                      <a:gd name="T43" fmla="*/ 2147483647 h 38"/>
                      <a:gd name="T44" fmla="*/ 2147483647 w 193"/>
                      <a:gd name="T45" fmla="*/ 2147483647 h 38"/>
                      <a:gd name="T46" fmla="*/ 2147483647 w 193"/>
                      <a:gd name="T47" fmla="*/ 2147483647 h 38"/>
                      <a:gd name="T48" fmla="*/ 2147483647 w 193"/>
                      <a:gd name="T49" fmla="*/ 2147483647 h 38"/>
                      <a:gd name="T50" fmla="*/ 2147483647 w 193"/>
                      <a:gd name="T51" fmla="*/ 2147483647 h 38"/>
                      <a:gd name="T52" fmla="*/ 2147483647 w 193"/>
                      <a:gd name="T53" fmla="*/ 2147483647 h 38"/>
                      <a:gd name="T54" fmla="*/ 2147483647 w 193"/>
                      <a:gd name="T55" fmla="*/ 2147483647 h 38"/>
                      <a:gd name="T56" fmla="*/ 2147483647 w 193"/>
                      <a:gd name="T57" fmla="*/ 2147483647 h 38"/>
                      <a:gd name="T58" fmla="*/ 2147483647 w 193"/>
                      <a:gd name="T59" fmla="*/ 2147483647 h 38"/>
                      <a:gd name="T60" fmla="*/ 0 w 193"/>
                      <a:gd name="T61" fmla="*/ 2147483647 h 38"/>
                      <a:gd name="T62" fmla="*/ 0 w 193"/>
                      <a:gd name="T63" fmla="*/ 2147483647 h 38"/>
                      <a:gd name="T64" fmla="*/ 2147483647 w 193"/>
                      <a:gd name="T65" fmla="*/ 2147483647 h 38"/>
                      <a:gd name="T66" fmla="*/ 2147483647 w 193"/>
                      <a:gd name="T67" fmla="*/ 2147483647 h 38"/>
                      <a:gd name="T68" fmla="*/ 2147483647 w 193"/>
                      <a:gd name="T69" fmla="*/ 2147483647 h 38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93"/>
                      <a:gd name="T106" fmla="*/ 0 h 38"/>
                      <a:gd name="T107" fmla="*/ 193 w 193"/>
                      <a:gd name="T108" fmla="*/ 38 h 38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93" h="38">
                        <a:moveTo>
                          <a:pt x="7" y="20"/>
                        </a:moveTo>
                        <a:lnTo>
                          <a:pt x="38" y="11"/>
                        </a:lnTo>
                        <a:lnTo>
                          <a:pt x="67" y="5"/>
                        </a:lnTo>
                        <a:lnTo>
                          <a:pt x="80" y="3"/>
                        </a:lnTo>
                        <a:lnTo>
                          <a:pt x="94" y="2"/>
                        </a:lnTo>
                        <a:lnTo>
                          <a:pt x="110" y="1"/>
                        </a:lnTo>
                        <a:lnTo>
                          <a:pt x="126" y="0"/>
                        </a:lnTo>
                        <a:lnTo>
                          <a:pt x="138" y="1"/>
                        </a:lnTo>
                        <a:lnTo>
                          <a:pt x="149" y="1"/>
                        </a:lnTo>
                        <a:lnTo>
                          <a:pt x="160" y="2"/>
                        </a:lnTo>
                        <a:lnTo>
                          <a:pt x="169" y="4"/>
                        </a:lnTo>
                        <a:lnTo>
                          <a:pt x="178" y="6"/>
                        </a:lnTo>
                        <a:lnTo>
                          <a:pt x="184" y="11"/>
                        </a:lnTo>
                        <a:lnTo>
                          <a:pt x="187" y="13"/>
                        </a:lnTo>
                        <a:lnTo>
                          <a:pt x="189" y="18"/>
                        </a:lnTo>
                        <a:lnTo>
                          <a:pt x="191" y="21"/>
                        </a:lnTo>
                        <a:lnTo>
                          <a:pt x="193" y="26"/>
                        </a:lnTo>
                        <a:lnTo>
                          <a:pt x="183" y="27"/>
                        </a:lnTo>
                        <a:lnTo>
                          <a:pt x="173" y="28"/>
                        </a:lnTo>
                        <a:lnTo>
                          <a:pt x="165" y="28"/>
                        </a:lnTo>
                        <a:lnTo>
                          <a:pt x="156" y="28"/>
                        </a:lnTo>
                        <a:lnTo>
                          <a:pt x="138" y="27"/>
                        </a:lnTo>
                        <a:lnTo>
                          <a:pt x="120" y="26"/>
                        </a:lnTo>
                        <a:lnTo>
                          <a:pt x="103" y="26"/>
                        </a:lnTo>
                        <a:lnTo>
                          <a:pt x="89" y="28"/>
                        </a:lnTo>
                        <a:lnTo>
                          <a:pt x="76" y="30"/>
                        </a:lnTo>
                        <a:lnTo>
                          <a:pt x="63" y="32"/>
                        </a:lnTo>
                        <a:lnTo>
                          <a:pt x="49" y="34"/>
                        </a:lnTo>
                        <a:lnTo>
                          <a:pt x="35" y="36"/>
                        </a:lnTo>
                        <a:lnTo>
                          <a:pt x="19" y="37"/>
                        </a:lnTo>
                        <a:lnTo>
                          <a:pt x="0" y="38"/>
                        </a:lnTo>
                        <a:lnTo>
                          <a:pt x="0" y="33"/>
                        </a:lnTo>
                        <a:lnTo>
                          <a:pt x="1" y="29"/>
                        </a:lnTo>
                        <a:lnTo>
                          <a:pt x="3" y="24"/>
                        </a:lnTo>
                        <a:lnTo>
                          <a:pt x="7" y="2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2" name="Freeform 268"/>
                  <p:cNvSpPr>
                    <a:spLocks/>
                  </p:cNvSpPr>
                  <p:nvPr>
                    <p:custDataLst>
                      <p:tags r:id="rId24"/>
                    </p:custDataLst>
                  </p:nvPr>
                </p:nvSpPr>
                <p:spPr bwMode="auto">
                  <a:xfrm>
                    <a:off x="3553322" y="2732995"/>
                    <a:ext cx="135080" cy="367631"/>
                  </a:xfrm>
                  <a:custGeom>
                    <a:avLst/>
                    <a:gdLst>
                      <a:gd name="T0" fmla="*/ 72878 w 99"/>
                      <a:gd name="T1" fmla="*/ 14653 h 301"/>
                      <a:gd name="T2" fmla="*/ 81128 w 99"/>
                      <a:gd name="T3" fmla="*/ 14653 h 301"/>
                      <a:gd name="T4" fmla="*/ 81128 w 99"/>
                      <a:gd name="T5" fmla="*/ 23200 h 301"/>
                      <a:gd name="T6" fmla="*/ 85253 w 99"/>
                      <a:gd name="T7" fmla="*/ 31748 h 301"/>
                      <a:gd name="T8" fmla="*/ 86628 w 99"/>
                      <a:gd name="T9" fmla="*/ 40295 h 301"/>
                      <a:gd name="T10" fmla="*/ 90753 w 99"/>
                      <a:gd name="T11" fmla="*/ 51285 h 301"/>
                      <a:gd name="T12" fmla="*/ 99004 w 99"/>
                      <a:gd name="T13" fmla="*/ 70822 h 301"/>
                      <a:gd name="T14" fmla="*/ 108629 w 99"/>
                      <a:gd name="T15" fmla="*/ 91580 h 301"/>
                      <a:gd name="T16" fmla="*/ 119629 w 99"/>
                      <a:gd name="T17" fmla="*/ 113559 h 301"/>
                      <a:gd name="T18" fmla="*/ 127880 w 99"/>
                      <a:gd name="T19" fmla="*/ 135538 h 301"/>
                      <a:gd name="T20" fmla="*/ 132005 w 99"/>
                      <a:gd name="T21" fmla="*/ 146528 h 301"/>
                      <a:gd name="T22" fmla="*/ 134755 w 99"/>
                      <a:gd name="T23" fmla="*/ 157518 h 301"/>
                      <a:gd name="T24" fmla="*/ 136130 w 99"/>
                      <a:gd name="T25" fmla="*/ 168507 h 301"/>
                      <a:gd name="T26" fmla="*/ 136130 w 99"/>
                      <a:gd name="T27" fmla="*/ 180718 h 301"/>
                      <a:gd name="T28" fmla="*/ 136130 w 99"/>
                      <a:gd name="T29" fmla="*/ 352888 h 301"/>
                      <a:gd name="T30" fmla="*/ 122379 w 99"/>
                      <a:gd name="T31" fmla="*/ 354109 h 301"/>
                      <a:gd name="T32" fmla="*/ 110004 w 99"/>
                      <a:gd name="T33" fmla="*/ 357772 h 301"/>
                      <a:gd name="T34" fmla="*/ 100379 w 99"/>
                      <a:gd name="T35" fmla="*/ 362657 h 301"/>
                      <a:gd name="T36" fmla="*/ 90753 w 99"/>
                      <a:gd name="T37" fmla="*/ 367541 h 301"/>
                      <a:gd name="T38" fmla="*/ 81128 w 99"/>
                      <a:gd name="T39" fmla="*/ 354109 h 301"/>
                      <a:gd name="T40" fmla="*/ 74253 w 99"/>
                      <a:gd name="T41" fmla="*/ 341899 h 301"/>
                      <a:gd name="T42" fmla="*/ 66002 w 99"/>
                      <a:gd name="T43" fmla="*/ 330909 h 301"/>
                      <a:gd name="T44" fmla="*/ 61877 w 99"/>
                      <a:gd name="T45" fmla="*/ 319919 h 301"/>
                      <a:gd name="T46" fmla="*/ 59127 w 99"/>
                      <a:gd name="T47" fmla="*/ 307709 h 301"/>
                      <a:gd name="T48" fmla="*/ 56377 w 99"/>
                      <a:gd name="T49" fmla="*/ 295498 h 301"/>
                      <a:gd name="T50" fmla="*/ 55002 w 99"/>
                      <a:gd name="T51" fmla="*/ 283287 h 301"/>
                      <a:gd name="T52" fmla="*/ 55002 w 99"/>
                      <a:gd name="T53" fmla="*/ 271077 h 301"/>
                      <a:gd name="T54" fmla="*/ 55002 w 99"/>
                      <a:gd name="T55" fmla="*/ 172170 h 301"/>
                      <a:gd name="T56" fmla="*/ 0 w 99"/>
                      <a:gd name="T57" fmla="*/ 7326 h 301"/>
                      <a:gd name="T58" fmla="*/ 6875 w 99"/>
                      <a:gd name="T59" fmla="*/ 2442 h 301"/>
                      <a:gd name="T60" fmla="*/ 13751 w 99"/>
                      <a:gd name="T61" fmla="*/ 0 h 301"/>
                      <a:gd name="T62" fmla="*/ 19251 w 99"/>
                      <a:gd name="T63" fmla="*/ 0 h 301"/>
                      <a:gd name="T64" fmla="*/ 27501 w 99"/>
                      <a:gd name="T65" fmla="*/ 0 h 301"/>
                      <a:gd name="T66" fmla="*/ 35751 w 99"/>
                      <a:gd name="T67" fmla="*/ 0 h 301"/>
                      <a:gd name="T68" fmla="*/ 44002 w 99"/>
                      <a:gd name="T69" fmla="*/ 2442 h 301"/>
                      <a:gd name="T70" fmla="*/ 50877 w 99"/>
                      <a:gd name="T71" fmla="*/ 4884 h 301"/>
                      <a:gd name="T72" fmla="*/ 56377 w 99"/>
                      <a:gd name="T73" fmla="*/ 7326 h 301"/>
                      <a:gd name="T74" fmla="*/ 64627 w 99"/>
                      <a:gd name="T75" fmla="*/ 12211 h 301"/>
                      <a:gd name="T76" fmla="*/ 72878 w 99"/>
                      <a:gd name="T77" fmla="*/ 14653 h 301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9"/>
                      <a:gd name="T118" fmla="*/ 0 h 301"/>
                      <a:gd name="T119" fmla="*/ 99 w 99"/>
                      <a:gd name="T120" fmla="*/ 301 h 301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9" h="301">
                        <a:moveTo>
                          <a:pt x="53" y="12"/>
                        </a:moveTo>
                        <a:lnTo>
                          <a:pt x="59" y="12"/>
                        </a:lnTo>
                        <a:lnTo>
                          <a:pt x="59" y="19"/>
                        </a:lnTo>
                        <a:lnTo>
                          <a:pt x="62" y="26"/>
                        </a:lnTo>
                        <a:lnTo>
                          <a:pt x="63" y="33"/>
                        </a:lnTo>
                        <a:lnTo>
                          <a:pt x="66" y="42"/>
                        </a:lnTo>
                        <a:lnTo>
                          <a:pt x="72" y="58"/>
                        </a:lnTo>
                        <a:lnTo>
                          <a:pt x="79" y="75"/>
                        </a:lnTo>
                        <a:lnTo>
                          <a:pt x="87" y="93"/>
                        </a:lnTo>
                        <a:lnTo>
                          <a:pt x="93" y="111"/>
                        </a:lnTo>
                        <a:lnTo>
                          <a:pt x="96" y="120"/>
                        </a:lnTo>
                        <a:lnTo>
                          <a:pt x="98" y="129"/>
                        </a:lnTo>
                        <a:lnTo>
                          <a:pt x="99" y="138"/>
                        </a:lnTo>
                        <a:lnTo>
                          <a:pt x="99" y="148"/>
                        </a:lnTo>
                        <a:lnTo>
                          <a:pt x="99" y="289"/>
                        </a:lnTo>
                        <a:lnTo>
                          <a:pt x="89" y="290"/>
                        </a:lnTo>
                        <a:lnTo>
                          <a:pt x="80" y="293"/>
                        </a:lnTo>
                        <a:lnTo>
                          <a:pt x="73" y="297"/>
                        </a:lnTo>
                        <a:lnTo>
                          <a:pt x="66" y="301"/>
                        </a:lnTo>
                        <a:lnTo>
                          <a:pt x="59" y="290"/>
                        </a:lnTo>
                        <a:lnTo>
                          <a:pt x="54" y="280"/>
                        </a:lnTo>
                        <a:lnTo>
                          <a:pt x="48" y="271"/>
                        </a:lnTo>
                        <a:lnTo>
                          <a:pt x="45" y="262"/>
                        </a:lnTo>
                        <a:lnTo>
                          <a:pt x="43" y="252"/>
                        </a:lnTo>
                        <a:lnTo>
                          <a:pt x="41" y="242"/>
                        </a:lnTo>
                        <a:lnTo>
                          <a:pt x="40" y="232"/>
                        </a:lnTo>
                        <a:lnTo>
                          <a:pt x="40" y="222"/>
                        </a:lnTo>
                        <a:lnTo>
                          <a:pt x="40" y="141"/>
                        </a:lnTo>
                        <a:lnTo>
                          <a:pt x="0" y="6"/>
                        </a:lnTo>
                        <a:lnTo>
                          <a:pt x="5" y="2"/>
                        </a:lnTo>
                        <a:lnTo>
                          <a:pt x="10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6" y="0"/>
                        </a:lnTo>
                        <a:lnTo>
                          <a:pt x="32" y="2"/>
                        </a:lnTo>
                        <a:lnTo>
                          <a:pt x="37" y="4"/>
                        </a:lnTo>
                        <a:lnTo>
                          <a:pt x="41" y="6"/>
                        </a:lnTo>
                        <a:lnTo>
                          <a:pt x="47" y="10"/>
                        </a:lnTo>
                        <a:lnTo>
                          <a:pt x="53" y="12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73" name="Freeform 269"/>
                  <p:cNvSpPr>
                    <a:spLocks/>
                  </p:cNvSpPr>
                  <p:nvPr>
                    <p:custDataLst>
                      <p:tags r:id="rId25"/>
                    </p:custDataLst>
                  </p:nvPr>
                </p:nvSpPr>
                <p:spPr bwMode="auto">
                  <a:xfrm>
                    <a:off x="3633996" y="2643528"/>
                    <a:ext cx="240142" cy="445712"/>
                  </a:xfrm>
                  <a:custGeom>
                    <a:avLst/>
                    <a:gdLst>
                      <a:gd name="T0" fmla="*/ 0 w 173"/>
                      <a:gd name="T1" fmla="*/ 100011 h 357"/>
                      <a:gd name="T2" fmla="*/ 12590 w 173"/>
                      <a:gd name="T3" fmla="*/ 90010 h 357"/>
                      <a:gd name="T4" fmla="*/ 23781 w 173"/>
                      <a:gd name="T5" fmla="*/ 81259 h 357"/>
                      <a:gd name="T6" fmla="*/ 34972 w 173"/>
                      <a:gd name="T7" fmla="*/ 75008 h 357"/>
                      <a:gd name="T8" fmla="*/ 46163 w 173"/>
                      <a:gd name="T9" fmla="*/ 70008 h 357"/>
                      <a:gd name="T10" fmla="*/ 55955 w 173"/>
                      <a:gd name="T11" fmla="*/ 62507 h 357"/>
                      <a:gd name="T12" fmla="*/ 93725 w 173"/>
                      <a:gd name="T13" fmla="*/ 62507 h 357"/>
                      <a:gd name="T14" fmla="*/ 131495 w 173"/>
                      <a:gd name="T15" fmla="*/ 0 h 357"/>
                      <a:gd name="T16" fmla="*/ 141287 w 173"/>
                      <a:gd name="T17" fmla="*/ 3750 h 357"/>
                      <a:gd name="T18" fmla="*/ 151079 w 173"/>
                      <a:gd name="T19" fmla="*/ 8751 h 357"/>
                      <a:gd name="T20" fmla="*/ 162270 w 173"/>
                      <a:gd name="T21" fmla="*/ 15002 h 357"/>
                      <a:gd name="T22" fmla="*/ 172062 w 173"/>
                      <a:gd name="T23" fmla="*/ 22502 h 357"/>
                      <a:gd name="T24" fmla="*/ 183253 w 173"/>
                      <a:gd name="T25" fmla="*/ 27503 h 357"/>
                      <a:gd name="T26" fmla="*/ 194444 w 173"/>
                      <a:gd name="T27" fmla="*/ 33754 h 357"/>
                      <a:gd name="T28" fmla="*/ 202837 w 173"/>
                      <a:gd name="T29" fmla="*/ 36254 h 357"/>
                      <a:gd name="T30" fmla="*/ 214028 w 173"/>
                      <a:gd name="T31" fmla="*/ 37504 h 357"/>
                      <a:gd name="T32" fmla="*/ 228017 w 173"/>
                      <a:gd name="T33" fmla="*/ 48755 h 357"/>
                      <a:gd name="T34" fmla="*/ 242006 w 173"/>
                      <a:gd name="T35" fmla="*/ 62507 h 357"/>
                      <a:gd name="T36" fmla="*/ 242006 w 173"/>
                      <a:gd name="T37" fmla="*/ 76258 h 357"/>
                      <a:gd name="T38" fmla="*/ 242006 w 173"/>
                      <a:gd name="T39" fmla="*/ 86259 h 357"/>
                      <a:gd name="T40" fmla="*/ 242006 w 173"/>
                      <a:gd name="T41" fmla="*/ 100011 h 357"/>
                      <a:gd name="T42" fmla="*/ 242006 w 173"/>
                      <a:gd name="T43" fmla="*/ 122513 h 357"/>
                      <a:gd name="T44" fmla="*/ 242006 w 173"/>
                      <a:gd name="T45" fmla="*/ 136265 h 357"/>
                      <a:gd name="T46" fmla="*/ 239208 w 173"/>
                      <a:gd name="T47" fmla="*/ 147516 h 357"/>
                      <a:gd name="T48" fmla="*/ 233613 w 173"/>
                      <a:gd name="T49" fmla="*/ 158767 h 357"/>
                      <a:gd name="T50" fmla="*/ 228017 w 173"/>
                      <a:gd name="T51" fmla="*/ 168768 h 357"/>
                      <a:gd name="T52" fmla="*/ 212630 w 173"/>
                      <a:gd name="T53" fmla="*/ 188770 h 357"/>
                      <a:gd name="T54" fmla="*/ 195843 w 173"/>
                      <a:gd name="T55" fmla="*/ 208772 h 357"/>
                      <a:gd name="T56" fmla="*/ 179056 w 173"/>
                      <a:gd name="T57" fmla="*/ 228775 h 357"/>
                      <a:gd name="T58" fmla="*/ 163669 w 173"/>
                      <a:gd name="T59" fmla="*/ 250027 h 357"/>
                      <a:gd name="T60" fmla="*/ 156674 w 173"/>
                      <a:gd name="T61" fmla="*/ 261278 h 357"/>
                      <a:gd name="T62" fmla="*/ 152478 w 173"/>
                      <a:gd name="T63" fmla="*/ 273779 h 357"/>
                      <a:gd name="T64" fmla="*/ 151079 w 173"/>
                      <a:gd name="T65" fmla="*/ 286281 h 357"/>
                      <a:gd name="T66" fmla="*/ 149680 w 173"/>
                      <a:gd name="T67" fmla="*/ 300032 h 357"/>
                      <a:gd name="T68" fmla="*/ 151079 w 173"/>
                      <a:gd name="T69" fmla="*/ 341287 h 357"/>
                      <a:gd name="T70" fmla="*/ 152478 w 173"/>
                      <a:gd name="T71" fmla="*/ 366289 h 357"/>
                      <a:gd name="T72" fmla="*/ 153877 w 173"/>
                      <a:gd name="T73" fmla="*/ 377541 h 357"/>
                      <a:gd name="T74" fmla="*/ 152478 w 173"/>
                      <a:gd name="T75" fmla="*/ 391292 h 357"/>
                      <a:gd name="T76" fmla="*/ 152478 w 173"/>
                      <a:gd name="T77" fmla="*/ 408794 h 357"/>
                      <a:gd name="T78" fmla="*/ 149680 w 173"/>
                      <a:gd name="T79" fmla="*/ 431296 h 357"/>
                      <a:gd name="T80" fmla="*/ 135691 w 173"/>
                      <a:gd name="T81" fmla="*/ 432547 h 357"/>
                      <a:gd name="T82" fmla="*/ 123101 w 173"/>
                      <a:gd name="T83" fmla="*/ 433797 h 357"/>
                      <a:gd name="T84" fmla="*/ 110511 w 173"/>
                      <a:gd name="T85" fmla="*/ 436297 h 357"/>
                      <a:gd name="T86" fmla="*/ 99320 w 173"/>
                      <a:gd name="T87" fmla="*/ 438797 h 357"/>
                      <a:gd name="T88" fmla="*/ 88129 w 173"/>
                      <a:gd name="T89" fmla="*/ 441297 h 357"/>
                      <a:gd name="T90" fmla="*/ 76938 w 173"/>
                      <a:gd name="T91" fmla="*/ 443798 h 357"/>
                      <a:gd name="T92" fmla="*/ 67146 w 173"/>
                      <a:gd name="T93" fmla="*/ 446298 h 357"/>
                      <a:gd name="T94" fmla="*/ 55955 w 173"/>
                      <a:gd name="T95" fmla="*/ 446298 h 357"/>
                      <a:gd name="T96" fmla="*/ 55955 w 173"/>
                      <a:gd name="T97" fmla="*/ 270029 h 357"/>
                      <a:gd name="T98" fmla="*/ 55955 w 173"/>
                      <a:gd name="T99" fmla="*/ 257528 h 357"/>
                      <a:gd name="T100" fmla="*/ 54556 w 173"/>
                      <a:gd name="T101" fmla="*/ 246276 h 357"/>
                      <a:gd name="T102" fmla="*/ 51759 w 173"/>
                      <a:gd name="T103" fmla="*/ 235025 h 357"/>
                      <a:gd name="T104" fmla="*/ 47562 w 173"/>
                      <a:gd name="T105" fmla="*/ 223774 h 357"/>
                      <a:gd name="T106" fmla="*/ 39169 w 173"/>
                      <a:gd name="T107" fmla="*/ 201272 h 357"/>
                      <a:gd name="T108" fmla="*/ 27978 w 173"/>
                      <a:gd name="T109" fmla="*/ 178769 h 357"/>
                      <a:gd name="T110" fmla="*/ 18185 w 173"/>
                      <a:gd name="T111" fmla="*/ 157517 h 357"/>
                      <a:gd name="T112" fmla="*/ 9792 w 173"/>
                      <a:gd name="T113" fmla="*/ 137515 h 357"/>
                      <a:gd name="T114" fmla="*/ 5596 w 173"/>
                      <a:gd name="T115" fmla="*/ 126264 h 357"/>
                      <a:gd name="T116" fmla="*/ 4197 w 173"/>
                      <a:gd name="T117" fmla="*/ 117513 h 357"/>
                      <a:gd name="T118" fmla="*/ 0 w 173"/>
                      <a:gd name="T119" fmla="*/ 108762 h 357"/>
                      <a:gd name="T120" fmla="*/ 0 w 173"/>
                      <a:gd name="T121" fmla="*/ 100011 h 357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73"/>
                      <a:gd name="T184" fmla="*/ 0 h 357"/>
                      <a:gd name="T185" fmla="*/ 173 w 173"/>
                      <a:gd name="T186" fmla="*/ 357 h 357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73" h="357">
                        <a:moveTo>
                          <a:pt x="0" y="80"/>
                        </a:moveTo>
                        <a:lnTo>
                          <a:pt x="9" y="72"/>
                        </a:lnTo>
                        <a:lnTo>
                          <a:pt x="17" y="65"/>
                        </a:lnTo>
                        <a:lnTo>
                          <a:pt x="25" y="60"/>
                        </a:lnTo>
                        <a:lnTo>
                          <a:pt x="33" y="56"/>
                        </a:lnTo>
                        <a:lnTo>
                          <a:pt x="40" y="50"/>
                        </a:lnTo>
                        <a:lnTo>
                          <a:pt x="67" y="50"/>
                        </a:lnTo>
                        <a:lnTo>
                          <a:pt x="94" y="0"/>
                        </a:lnTo>
                        <a:lnTo>
                          <a:pt x="101" y="3"/>
                        </a:lnTo>
                        <a:lnTo>
                          <a:pt x="108" y="7"/>
                        </a:lnTo>
                        <a:lnTo>
                          <a:pt x="116" y="12"/>
                        </a:lnTo>
                        <a:lnTo>
                          <a:pt x="123" y="18"/>
                        </a:lnTo>
                        <a:lnTo>
                          <a:pt x="131" y="22"/>
                        </a:lnTo>
                        <a:lnTo>
                          <a:pt x="139" y="27"/>
                        </a:lnTo>
                        <a:lnTo>
                          <a:pt x="145" y="29"/>
                        </a:lnTo>
                        <a:lnTo>
                          <a:pt x="153" y="30"/>
                        </a:lnTo>
                        <a:lnTo>
                          <a:pt x="163" y="39"/>
                        </a:lnTo>
                        <a:lnTo>
                          <a:pt x="173" y="50"/>
                        </a:lnTo>
                        <a:lnTo>
                          <a:pt x="173" y="61"/>
                        </a:lnTo>
                        <a:lnTo>
                          <a:pt x="173" y="69"/>
                        </a:lnTo>
                        <a:lnTo>
                          <a:pt x="173" y="80"/>
                        </a:lnTo>
                        <a:lnTo>
                          <a:pt x="173" y="98"/>
                        </a:lnTo>
                        <a:lnTo>
                          <a:pt x="173" y="109"/>
                        </a:lnTo>
                        <a:lnTo>
                          <a:pt x="171" y="118"/>
                        </a:lnTo>
                        <a:lnTo>
                          <a:pt x="167" y="127"/>
                        </a:lnTo>
                        <a:lnTo>
                          <a:pt x="163" y="135"/>
                        </a:lnTo>
                        <a:lnTo>
                          <a:pt x="152" y="151"/>
                        </a:lnTo>
                        <a:lnTo>
                          <a:pt x="140" y="167"/>
                        </a:lnTo>
                        <a:lnTo>
                          <a:pt x="128" y="183"/>
                        </a:lnTo>
                        <a:lnTo>
                          <a:pt x="117" y="200"/>
                        </a:lnTo>
                        <a:lnTo>
                          <a:pt x="112" y="209"/>
                        </a:lnTo>
                        <a:lnTo>
                          <a:pt x="109" y="219"/>
                        </a:lnTo>
                        <a:lnTo>
                          <a:pt x="108" y="229"/>
                        </a:lnTo>
                        <a:lnTo>
                          <a:pt x="107" y="240"/>
                        </a:lnTo>
                        <a:lnTo>
                          <a:pt x="108" y="273"/>
                        </a:lnTo>
                        <a:lnTo>
                          <a:pt x="109" y="293"/>
                        </a:lnTo>
                        <a:lnTo>
                          <a:pt x="110" y="302"/>
                        </a:lnTo>
                        <a:lnTo>
                          <a:pt x="109" y="313"/>
                        </a:lnTo>
                        <a:lnTo>
                          <a:pt x="109" y="327"/>
                        </a:lnTo>
                        <a:lnTo>
                          <a:pt x="107" y="345"/>
                        </a:lnTo>
                        <a:lnTo>
                          <a:pt x="97" y="346"/>
                        </a:lnTo>
                        <a:lnTo>
                          <a:pt x="88" y="347"/>
                        </a:lnTo>
                        <a:lnTo>
                          <a:pt x="79" y="349"/>
                        </a:lnTo>
                        <a:lnTo>
                          <a:pt x="71" y="351"/>
                        </a:lnTo>
                        <a:lnTo>
                          <a:pt x="63" y="353"/>
                        </a:lnTo>
                        <a:lnTo>
                          <a:pt x="55" y="355"/>
                        </a:lnTo>
                        <a:lnTo>
                          <a:pt x="48" y="357"/>
                        </a:lnTo>
                        <a:lnTo>
                          <a:pt x="40" y="357"/>
                        </a:lnTo>
                        <a:lnTo>
                          <a:pt x="40" y="216"/>
                        </a:lnTo>
                        <a:lnTo>
                          <a:pt x="40" y="206"/>
                        </a:lnTo>
                        <a:lnTo>
                          <a:pt x="39" y="197"/>
                        </a:lnTo>
                        <a:lnTo>
                          <a:pt x="37" y="188"/>
                        </a:lnTo>
                        <a:lnTo>
                          <a:pt x="34" y="179"/>
                        </a:lnTo>
                        <a:lnTo>
                          <a:pt x="28" y="161"/>
                        </a:lnTo>
                        <a:lnTo>
                          <a:pt x="20" y="143"/>
                        </a:lnTo>
                        <a:lnTo>
                          <a:pt x="13" y="126"/>
                        </a:lnTo>
                        <a:lnTo>
                          <a:pt x="7" y="110"/>
                        </a:lnTo>
                        <a:lnTo>
                          <a:pt x="4" y="101"/>
                        </a:lnTo>
                        <a:lnTo>
                          <a:pt x="3" y="94"/>
                        </a:lnTo>
                        <a:lnTo>
                          <a:pt x="0" y="87"/>
                        </a:lnTo>
                        <a:lnTo>
                          <a:pt x="0" y="8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795" name="Freeform 270">
                    <a:hlinkClick r:id="rId57" action="ppaction://hlinkpres?slideindex=1&amp;slidetitle=" tooltip="Swaziland"/>
                  </p:cNvPr>
                  <p:cNvSpPr>
                    <a:spLocks/>
                  </p:cNvSpPr>
                  <p:nvPr>
                    <p:custDataLst>
                      <p:tags r:id="rId26"/>
                    </p:custDataLst>
                  </p:nvPr>
                </p:nvSpPr>
                <p:spPr bwMode="auto">
                  <a:xfrm>
                    <a:off x="5947672" y="5490229"/>
                    <a:ext cx="80669" cy="142516"/>
                  </a:xfrm>
                  <a:custGeom>
                    <a:avLst/>
                    <a:gdLst>
                      <a:gd name="T0" fmla="*/ 2147483647 w 50"/>
                      <a:gd name="T1" fmla="*/ 0 h 74"/>
                      <a:gd name="T2" fmla="*/ 2147483647 w 50"/>
                      <a:gd name="T3" fmla="*/ 2147483647 h 74"/>
                      <a:gd name="T4" fmla="*/ 2147483647 w 50"/>
                      <a:gd name="T5" fmla="*/ 2147483647 h 74"/>
                      <a:gd name="T6" fmla="*/ 0 w 50"/>
                      <a:gd name="T7" fmla="*/ 2147483647 h 74"/>
                      <a:gd name="T8" fmla="*/ 0 w 50"/>
                      <a:gd name="T9" fmla="*/ 2147483647 h 74"/>
                      <a:gd name="T10" fmla="*/ 0 w 50"/>
                      <a:gd name="T11" fmla="*/ 2147483647 h 74"/>
                      <a:gd name="T12" fmla="*/ 2147483647 w 50"/>
                      <a:gd name="T13" fmla="*/ 2147483647 h 74"/>
                      <a:gd name="T14" fmla="*/ 2147483647 w 50"/>
                      <a:gd name="T15" fmla="*/ 2147483647 h 74"/>
                      <a:gd name="T16" fmla="*/ 2147483647 w 50"/>
                      <a:gd name="T17" fmla="*/ 2147483647 h 74"/>
                      <a:gd name="T18" fmla="*/ 2147483647 w 50"/>
                      <a:gd name="T19" fmla="*/ 2147483647 h 74"/>
                      <a:gd name="T20" fmla="*/ 2147483647 w 50"/>
                      <a:gd name="T21" fmla="*/ 2147483647 h 74"/>
                      <a:gd name="T22" fmla="*/ 2147483647 w 50"/>
                      <a:gd name="T23" fmla="*/ 2147483647 h 74"/>
                      <a:gd name="T24" fmla="*/ 2147483647 w 50"/>
                      <a:gd name="T25" fmla="*/ 2147483647 h 74"/>
                      <a:gd name="T26" fmla="*/ 2147483647 w 50"/>
                      <a:gd name="T27" fmla="*/ 0 h 74"/>
                      <a:gd name="T28" fmla="*/ 2147483647 w 50"/>
                      <a:gd name="T29" fmla="*/ 0 h 74"/>
                      <a:gd name="T30" fmla="*/ 2147483647 w 50"/>
                      <a:gd name="T31" fmla="*/ 0 h 74"/>
                      <a:gd name="T32" fmla="*/ 2147483647 w 50"/>
                      <a:gd name="T33" fmla="*/ 0 h 74"/>
                      <a:gd name="T34" fmla="*/ 2147483647 w 50"/>
                      <a:gd name="T35" fmla="*/ 0 h 7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50"/>
                      <a:gd name="T55" fmla="*/ 0 h 74"/>
                      <a:gd name="T56" fmla="*/ 50 w 50"/>
                      <a:gd name="T57" fmla="*/ 74 h 7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50" h="74">
                        <a:moveTo>
                          <a:pt x="10" y="0"/>
                        </a:moveTo>
                        <a:lnTo>
                          <a:pt x="6" y="14"/>
                        </a:lnTo>
                        <a:lnTo>
                          <a:pt x="2" y="26"/>
                        </a:lnTo>
                        <a:lnTo>
                          <a:pt x="0" y="36"/>
                        </a:lnTo>
                        <a:lnTo>
                          <a:pt x="0" y="43"/>
                        </a:lnTo>
                        <a:lnTo>
                          <a:pt x="0" y="50"/>
                        </a:lnTo>
                        <a:lnTo>
                          <a:pt x="2" y="56"/>
                        </a:lnTo>
                        <a:lnTo>
                          <a:pt x="6" y="61"/>
                        </a:lnTo>
                        <a:lnTo>
                          <a:pt x="10" y="68"/>
                        </a:lnTo>
                        <a:lnTo>
                          <a:pt x="50" y="74"/>
                        </a:lnTo>
                        <a:lnTo>
                          <a:pt x="50" y="51"/>
                        </a:lnTo>
                        <a:lnTo>
                          <a:pt x="50" y="34"/>
                        </a:lnTo>
                        <a:lnTo>
                          <a:pt x="50" y="19"/>
                        </a:lnTo>
                        <a:lnTo>
                          <a:pt x="50" y="0"/>
                        </a:lnTo>
                        <a:lnTo>
                          <a:pt x="38" y="0"/>
                        </a:lnTo>
                        <a:lnTo>
                          <a:pt x="25" y="0"/>
                        </a:lnTo>
                        <a:lnTo>
                          <a:pt x="14" y="0"/>
                        </a:lnTo>
                        <a:lnTo>
                          <a:pt x="10" y="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6" name="Freeform 271"/>
                  <p:cNvSpPr>
                    <a:spLocks/>
                  </p:cNvSpPr>
                  <p:nvPr>
                    <p:custDataLst>
                      <p:tags r:id="rId27"/>
                    </p:custDataLst>
                  </p:nvPr>
                </p:nvSpPr>
                <p:spPr bwMode="auto">
                  <a:xfrm>
                    <a:off x="5614914" y="5719006"/>
                    <a:ext cx="196628" cy="135015"/>
                  </a:xfrm>
                  <a:custGeom>
                    <a:avLst/>
                    <a:gdLst>
                      <a:gd name="T0" fmla="*/ 2147483647 w 135"/>
                      <a:gd name="T1" fmla="*/ 2147483647 h 98"/>
                      <a:gd name="T2" fmla="*/ 2147483647 w 135"/>
                      <a:gd name="T3" fmla="*/ 2147483647 h 98"/>
                      <a:gd name="T4" fmla="*/ 2147483647 w 135"/>
                      <a:gd name="T5" fmla="*/ 2147483647 h 98"/>
                      <a:gd name="T6" fmla="*/ 2147483647 w 135"/>
                      <a:gd name="T7" fmla="*/ 2147483647 h 98"/>
                      <a:gd name="T8" fmla="*/ 2147483647 w 135"/>
                      <a:gd name="T9" fmla="*/ 2147483647 h 98"/>
                      <a:gd name="T10" fmla="*/ 2147483647 w 135"/>
                      <a:gd name="T11" fmla="*/ 2147483647 h 98"/>
                      <a:gd name="T12" fmla="*/ 2147483647 w 135"/>
                      <a:gd name="T13" fmla="*/ 2147483647 h 98"/>
                      <a:gd name="T14" fmla="*/ 2147483647 w 135"/>
                      <a:gd name="T15" fmla="*/ 2147483647 h 98"/>
                      <a:gd name="T16" fmla="*/ 2147483647 w 135"/>
                      <a:gd name="T17" fmla="*/ 2147483647 h 98"/>
                      <a:gd name="T18" fmla="*/ 2147483647 w 135"/>
                      <a:gd name="T19" fmla="*/ 2147483647 h 98"/>
                      <a:gd name="T20" fmla="*/ 2147483647 w 135"/>
                      <a:gd name="T21" fmla="*/ 2147483647 h 98"/>
                      <a:gd name="T22" fmla="*/ 2147483647 w 135"/>
                      <a:gd name="T23" fmla="*/ 0 h 98"/>
                      <a:gd name="T24" fmla="*/ 2147483647 w 135"/>
                      <a:gd name="T25" fmla="*/ 0 h 98"/>
                      <a:gd name="T26" fmla="*/ 2147483647 w 135"/>
                      <a:gd name="T27" fmla="*/ 0 h 98"/>
                      <a:gd name="T28" fmla="*/ 2147483647 w 135"/>
                      <a:gd name="T29" fmla="*/ 2147483647 h 98"/>
                      <a:gd name="T30" fmla="*/ 2147483647 w 135"/>
                      <a:gd name="T31" fmla="*/ 2147483647 h 98"/>
                      <a:gd name="T32" fmla="*/ 2147483647 w 135"/>
                      <a:gd name="T33" fmla="*/ 2147483647 h 98"/>
                      <a:gd name="T34" fmla="*/ 2147483647 w 135"/>
                      <a:gd name="T35" fmla="*/ 2147483647 h 98"/>
                      <a:gd name="T36" fmla="*/ 2147483647 w 135"/>
                      <a:gd name="T37" fmla="*/ 2147483647 h 98"/>
                      <a:gd name="T38" fmla="*/ 2147483647 w 135"/>
                      <a:gd name="T39" fmla="*/ 2147483647 h 98"/>
                      <a:gd name="T40" fmla="*/ 2147483647 w 135"/>
                      <a:gd name="T41" fmla="*/ 2147483647 h 98"/>
                      <a:gd name="T42" fmla="*/ 2147483647 w 135"/>
                      <a:gd name="T43" fmla="*/ 2147483647 h 98"/>
                      <a:gd name="T44" fmla="*/ 2147483647 w 135"/>
                      <a:gd name="T45" fmla="*/ 2147483647 h 98"/>
                      <a:gd name="T46" fmla="*/ 2147483647 w 135"/>
                      <a:gd name="T47" fmla="*/ 2147483647 h 98"/>
                      <a:gd name="T48" fmla="*/ 2147483647 w 135"/>
                      <a:gd name="T49" fmla="*/ 2147483647 h 98"/>
                      <a:gd name="T50" fmla="*/ 2147483647 w 135"/>
                      <a:gd name="T51" fmla="*/ 2147483647 h 98"/>
                      <a:gd name="T52" fmla="*/ 2147483647 w 135"/>
                      <a:gd name="T53" fmla="*/ 2147483647 h 98"/>
                      <a:gd name="T54" fmla="*/ 2147483647 w 135"/>
                      <a:gd name="T55" fmla="*/ 2147483647 h 98"/>
                      <a:gd name="T56" fmla="*/ 2147483647 w 135"/>
                      <a:gd name="T57" fmla="*/ 2147483647 h 98"/>
                      <a:gd name="T58" fmla="*/ 2147483647 w 135"/>
                      <a:gd name="T59" fmla="*/ 2147483647 h 98"/>
                      <a:gd name="T60" fmla="*/ 2147483647 w 135"/>
                      <a:gd name="T61" fmla="*/ 2147483647 h 98"/>
                      <a:gd name="T62" fmla="*/ 2147483647 w 135"/>
                      <a:gd name="T63" fmla="*/ 2147483647 h 98"/>
                      <a:gd name="T64" fmla="*/ 2147483647 w 135"/>
                      <a:gd name="T65" fmla="*/ 2147483647 h 98"/>
                      <a:gd name="T66" fmla="*/ 2147483647 w 135"/>
                      <a:gd name="T67" fmla="*/ 2147483647 h 98"/>
                      <a:gd name="T68" fmla="*/ 2147483647 w 135"/>
                      <a:gd name="T69" fmla="*/ 2147483647 h 98"/>
                      <a:gd name="T70" fmla="*/ 2147483647 w 135"/>
                      <a:gd name="T71" fmla="*/ 2147483647 h 98"/>
                      <a:gd name="T72" fmla="*/ 2147483647 w 135"/>
                      <a:gd name="T73" fmla="*/ 2147483647 h 98"/>
                      <a:gd name="T74" fmla="*/ 2147483647 w 135"/>
                      <a:gd name="T75" fmla="*/ 2147483647 h 98"/>
                      <a:gd name="T76" fmla="*/ 0 w 135"/>
                      <a:gd name="T77" fmla="*/ 2147483647 h 98"/>
                      <a:gd name="T78" fmla="*/ 0 w 135"/>
                      <a:gd name="T79" fmla="*/ 2147483647 h 98"/>
                      <a:gd name="T80" fmla="*/ 2147483647 w 135"/>
                      <a:gd name="T81" fmla="*/ 2147483647 h 98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135"/>
                      <a:gd name="T124" fmla="*/ 0 h 98"/>
                      <a:gd name="T125" fmla="*/ 135 w 135"/>
                      <a:gd name="T126" fmla="*/ 98 h 98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135" h="98">
                        <a:moveTo>
                          <a:pt x="3" y="55"/>
                        </a:moveTo>
                        <a:lnTo>
                          <a:pt x="11" y="54"/>
                        </a:lnTo>
                        <a:lnTo>
                          <a:pt x="18" y="53"/>
                        </a:lnTo>
                        <a:lnTo>
                          <a:pt x="24" y="50"/>
                        </a:lnTo>
                        <a:lnTo>
                          <a:pt x="31" y="47"/>
                        </a:lnTo>
                        <a:lnTo>
                          <a:pt x="42" y="38"/>
                        </a:lnTo>
                        <a:lnTo>
                          <a:pt x="52" y="28"/>
                        </a:lnTo>
                        <a:lnTo>
                          <a:pt x="61" y="18"/>
                        </a:lnTo>
                        <a:lnTo>
                          <a:pt x="71" y="8"/>
                        </a:lnTo>
                        <a:lnTo>
                          <a:pt x="76" y="5"/>
                        </a:lnTo>
                        <a:lnTo>
                          <a:pt x="82" y="2"/>
                        </a:lnTo>
                        <a:lnTo>
                          <a:pt x="88" y="0"/>
                        </a:lnTo>
                        <a:lnTo>
                          <a:pt x="96" y="0"/>
                        </a:lnTo>
                        <a:lnTo>
                          <a:pt x="102" y="0"/>
                        </a:lnTo>
                        <a:lnTo>
                          <a:pt x="110" y="3"/>
                        </a:lnTo>
                        <a:lnTo>
                          <a:pt x="117" y="6"/>
                        </a:lnTo>
                        <a:lnTo>
                          <a:pt x="123" y="11"/>
                        </a:lnTo>
                        <a:lnTo>
                          <a:pt x="128" y="16"/>
                        </a:lnTo>
                        <a:lnTo>
                          <a:pt x="132" y="24"/>
                        </a:lnTo>
                        <a:lnTo>
                          <a:pt x="134" y="30"/>
                        </a:lnTo>
                        <a:lnTo>
                          <a:pt x="135" y="37"/>
                        </a:lnTo>
                        <a:lnTo>
                          <a:pt x="134" y="40"/>
                        </a:lnTo>
                        <a:lnTo>
                          <a:pt x="132" y="43"/>
                        </a:lnTo>
                        <a:lnTo>
                          <a:pt x="129" y="47"/>
                        </a:lnTo>
                        <a:lnTo>
                          <a:pt x="124" y="51"/>
                        </a:lnTo>
                        <a:lnTo>
                          <a:pt x="113" y="61"/>
                        </a:lnTo>
                        <a:lnTo>
                          <a:pt x="100" y="72"/>
                        </a:lnTo>
                        <a:lnTo>
                          <a:pt x="87" y="82"/>
                        </a:lnTo>
                        <a:lnTo>
                          <a:pt x="74" y="91"/>
                        </a:lnTo>
                        <a:lnTo>
                          <a:pt x="63" y="96"/>
                        </a:lnTo>
                        <a:lnTo>
                          <a:pt x="55" y="98"/>
                        </a:lnTo>
                        <a:lnTo>
                          <a:pt x="51" y="97"/>
                        </a:lnTo>
                        <a:lnTo>
                          <a:pt x="43" y="92"/>
                        </a:lnTo>
                        <a:lnTo>
                          <a:pt x="32" y="85"/>
                        </a:lnTo>
                        <a:lnTo>
                          <a:pt x="21" y="77"/>
                        </a:lnTo>
                        <a:lnTo>
                          <a:pt x="11" y="68"/>
                        </a:lnTo>
                        <a:lnTo>
                          <a:pt x="5" y="62"/>
                        </a:lnTo>
                        <a:lnTo>
                          <a:pt x="1" y="59"/>
                        </a:lnTo>
                        <a:lnTo>
                          <a:pt x="0" y="57"/>
                        </a:lnTo>
                        <a:lnTo>
                          <a:pt x="0" y="56"/>
                        </a:lnTo>
                        <a:lnTo>
                          <a:pt x="3" y="55"/>
                        </a:lnTo>
                      </a:path>
                    </a:pathLst>
                  </a:custGeom>
                  <a:solidFill>
                    <a:srgbClr val="C0C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7" name="Freeform 355"/>
                  <p:cNvSpPr>
                    <a:spLocks/>
                  </p:cNvSpPr>
                  <p:nvPr>
                    <p:custDataLst>
                      <p:tags r:id="rId28"/>
                    </p:custDataLst>
                  </p:nvPr>
                </p:nvSpPr>
                <p:spPr bwMode="auto">
                  <a:xfrm>
                    <a:off x="5282156" y="1841075"/>
                    <a:ext cx="1305823" cy="1443909"/>
                  </a:xfrm>
                  <a:custGeom>
                    <a:avLst/>
                    <a:gdLst>
                      <a:gd name="T0" fmla="*/ 2147483647 w 943"/>
                      <a:gd name="T1" fmla="*/ 2147483647 h 1172"/>
                      <a:gd name="T2" fmla="*/ 2147483647 w 943"/>
                      <a:gd name="T3" fmla="*/ 2147483647 h 1172"/>
                      <a:gd name="T4" fmla="*/ 2147483647 w 943"/>
                      <a:gd name="T5" fmla="*/ 2147483647 h 1172"/>
                      <a:gd name="T6" fmla="*/ 2147483647 w 943"/>
                      <a:gd name="T7" fmla="*/ 2147483647 h 1172"/>
                      <a:gd name="T8" fmla="*/ 2147483647 w 943"/>
                      <a:gd name="T9" fmla="*/ 2147483647 h 1172"/>
                      <a:gd name="T10" fmla="*/ 2147483647 w 943"/>
                      <a:gd name="T11" fmla="*/ 2147483647 h 1172"/>
                      <a:gd name="T12" fmla="*/ 2147483647 w 943"/>
                      <a:gd name="T13" fmla="*/ 2147483647 h 1172"/>
                      <a:gd name="T14" fmla="*/ 2147483647 w 943"/>
                      <a:gd name="T15" fmla="*/ 2147483647 h 1172"/>
                      <a:gd name="T16" fmla="*/ 2147483647 w 943"/>
                      <a:gd name="T17" fmla="*/ 2147483647 h 1172"/>
                      <a:gd name="T18" fmla="*/ 2147483647 w 943"/>
                      <a:gd name="T19" fmla="*/ 2147483647 h 1172"/>
                      <a:gd name="T20" fmla="*/ 2147483647 w 943"/>
                      <a:gd name="T21" fmla="*/ 2147483647 h 1172"/>
                      <a:gd name="T22" fmla="*/ 2147483647 w 943"/>
                      <a:gd name="T23" fmla="*/ 2147483647 h 1172"/>
                      <a:gd name="T24" fmla="*/ 2147483647 w 943"/>
                      <a:gd name="T25" fmla="*/ 2147483647 h 1172"/>
                      <a:gd name="T26" fmla="*/ 2147483647 w 943"/>
                      <a:gd name="T27" fmla="*/ 2147483647 h 1172"/>
                      <a:gd name="T28" fmla="*/ 2147483647 w 943"/>
                      <a:gd name="T29" fmla="*/ 2147483647 h 1172"/>
                      <a:gd name="T30" fmla="*/ 2147483647 w 943"/>
                      <a:gd name="T31" fmla="*/ 2147483647 h 1172"/>
                      <a:gd name="T32" fmla="*/ 2147483647 w 943"/>
                      <a:gd name="T33" fmla="*/ 2147483647 h 1172"/>
                      <a:gd name="T34" fmla="*/ 2147483647 w 943"/>
                      <a:gd name="T35" fmla="*/ 2147483647 h 1172"/>
                      <a:gd name="T36" fmla="*/ 2147483647 w 943"/>
                      <a:gd name="T37" fmla="*/ 2147483647 h 1172"/>
                      <a:gd name="T38" fmla="*/ 2147483647 w 943"/>
                      <a:gd name="T39" fmla="*/ 2147483647 h 1172"/>
                      <a:gd name="T40" fmla="*/ 2147483647 w 943"/>
                      <a:gd name="T41" fmla="*/ 2147483647 h 1172"/>
                      <a:gd name="T42" fmla="*/ 2147483647 w 943"/>
                      <a:gd name="T43" fmla="*/ 2147483647 h 1172"/>
                      <a:gd name="T44" fmla="*/ 2147483647 w 943"/>
                      <a:gd name="T45" fmla="*/ 2147483647 h 1172"/>
                      <a:gd name="T46" fmla="*/ 2147483647 w 943"/>
                      <a:gd name="T47" fmla="*/ 2147483647 h 1172"/>
                      <a:gd name="T48" fmla="*/ 2147483647 w 943"/>
                      <a:gd name="T49" fmla="*/ 2147483647 h 1172"/>
                      <a:gd name="T50" fmla="*/ 2147483647 w 943"/>
                      <a:gd name="T51" fmla="*/ 2147483647 h 1172"/>
                      <a:gd name="T52" fmla="*/ 2147483647 w 943"/>
                      <a:gd name="T53" fmla="*/ 2147483647 h 1172"/>
                      <a:gd name="T54" fmla="*/ 2147483647 w 943"/>
                      <a:gd name="T55" fmla="*/ 2147483647 h 1172"/>
                      <a:gd name="T56" fmla="*/ 2147483647 w 943"/>
                      <a:gd name="T57" fmla="*/ 2147483647 h 1172"/>
                      <a:gd name="T58" fmla="*/ 2147483647 w 943"/>
                      <a:gd name="T59" fmla="*/ 2147483647 h 1172"/>
                      <a:gd name="T60" fmla="*/ 2147483647 w 943"/>
                      <a:gd name="T61" fmla="*/ 2147483647 h 1172"/>
                      <a:gd name="T62" fmla="*/ 2147483647 w 943"/>
                      <a:gd name="T63" fmla="*/ 2147483647 h 1172"/>
                      <a:gd name="T64" fmla="*/ 2147483647 w 943"/>
                      <a:gd name="T65" fmla="*/ 2147483647 h 1172"/>
                      <a:gd name="T66" fmla="*/ 2147483647 w 943"/>
                      <a:gd name="T67" fmla="*/ 2147483647 h 1172"/>
                      <a:gd name="T68" fmla="*/ 2147483647 w 943"/>
                      <a:gd name="T69" fmla="*/ 2147483647 h 1172"/>
                      <a:gd name="T70" fmla="*/ 2147483647 w 943"/>
                      <a:gd name="T71" fmla="*/ 2147483647 h 1172"/>
                      <a:gd name="T72" fmla="*/ 2147483647 w 943"/>
                      <a:gd name="T73" fmla="*/ 2147483647 h 1172"/>
                      <a:gd name="T74" fmla="*/ 2147483647 w 943"/>
                      <a:gd name="T75" fmla="*/ 2147483647 h 1172"/>
                      <a:gd name="T76" fmla="*/ 2147483647 w 943"/>
                      <a:gd name="T77" fmla="*/ 2147483647 h 1172"/>
                      <a:gd name="T78" fmla="*/ 2147483647 w 943"/>
                      <a:gd name="T79" fmla="*/ 2147483647 h 1172"/>
                      <a:gd name="T80" fmla="*/ 2147483647 w 943"/>
                      <a:gd name="T81" fmla="*/ 2147483647 h 1172"/>
                      <a:gd name="T82" fmla="*/ 2147483647 w 943"/>
                      <a:gd name="T83" fmla="*/ 2147483647 h 1172"/>
                      <a:gd name="T84" fmla="*/ 2147483647 w 943"/>
                      <a:gd name="T85" fmla="*/ 2147483647 h 1172"/>
                      <a:gd name="T86" fmla="*/ 2147483647 w 943"/>
                      <a:gd name="T87" fmla="*/ 2147483647 h 1172"/>
                      <a:gd name="T88" fmla="*/ 2147483647 w 943"/>
                      <a:gd name="T89" fmla="*/ 2147483647 h 1172"/>
                      <a:gd name="T90" fmla="*/ 2147483647 w 943"/>
                      <a:gd name="T91" fmla="*/ 2147483647 h 1172"/>
                      <a:gd name="T92" fmla="*/ 2147483647 w 943"/>
                      <a:gd name="T93" fmla="*/ 2147483647 h 1172"/>
                      <a:gd name="T94" fmla="*/ 2147483647 w 943"/>
                      <a:gd name="T95" fmla="*/ 2147483647 h 1172"/>
                      <a:gd name="T96" fmla="*/ 2147483647 w 943"/>
                      <a:gd name="T97" fmla="*/ 2147483647 h 1172"/>
                      <a:gd name="T98" fmla="*/ 2147483647 w 943"/>
                      <a:gd name="T99" fmla="*/ 2147483647 h 1172"/>
                      <a:gd name="T100" fmla="*/ 2147483647 w 943"/>
                      <a:gd name="T101" fmla="*/ 2147483647 h 1172"/>
                      <a:gd name="T102" fmla="*/ 2147483647 w 943"/>
                      <a:gd name="T103" fmla="*/ 2147483647 h 1172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943"/>
                      <a:gd name="T157" fmla="*/ 0 h 1172"/>
                      <a:gd name="T158" fmla="*/ 943 w 943"/>
                      <a:gd name="T159" fmla="*/ 1172 h 1172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943" h="1172">
                        <a:moveTo>
                          <a:pt x="711" y="30"/>
                        </a:moveTo>
                        <a:lnTo>
                          <a:pt x="715" y="25"/>
                        </a:lnTo>
                        <a:lnTo>
                          <a:pt x="728" y="15"/>
                        </a:lnTo>
                        <a:lnTo>
                          <a:pt x="735" y="9"/>
                        </a:lnTo>
                        <a:lnTo>
                          <a:pt x="742" y="5"/>
                        </a:lnTo>
                        <a:lnTo>
                          <a:pt x="747" y="1"/>
                        </a:lnTo>
                        <a:lnTo>
                          <a:pt x="751" y="0"/>
                        </a:lnTo>
                        <a:lnTo>
                          <a:pt x="755" y="10"/>
                        </a:lnTo>
                        <a:lnTo>
                          <a:pt x="759" y="17"/>
                        </a:lnTo>
                        <a:lnTo>
                          <a:pt x="765" y="23"/>
                        </a:lnTo>
                        <a:lnTo>
                          <a:pt x="769" y="26"/>
                        </a:lnTo>
                        <a:lnTo>
                          <a:pt x="776" y="28"/>
                        </a:lnTo>
                        <a:lnTo>
                          <a:pt x="784" y="30"/>
                        </a:lnTo>
                        <a:lnTo>
                          <a:pt x="792" y="30"/>
                        </a:lnTo>
                        <a:lnTo>
                          <a:pt x="803" y="30"/>
                        </a:lnTo>
                        <a:lnTo>
                          <a:pt x="804" y="40"/>
                        </a:lnTo>
                        <a:lnTo>
                          <a:pt x="808" y="48"/>
                        </a:lnTo>
                        <a:lnTo>
                          <a:pt x="810" y="51"/>
                        </a:lnTo>
                        <a:lnTo>
                          <a:pt x="812" y="53"/>
                        </a:lnTo>
                        <a:lnTo>
                          <a:pt x="814" y="55"/>
                        </a:lnTo>
                        <a:lnTo>
                          <a:pt x="816" y="55"/>
                        </a:lnTo>
                        <a:lnTo>
                          <a:pt x="823" y="76"/>
                        </a:lnTo>
                        <a:lnTo>
                          <a:pt x="830" y="94"/>
                        </a:lnTo>
                        <a:lnTo>
                          <a:pt x="832" y="102"/>
                        </a:lnTo>
                        <a:lnTo>
                          <a:pt x="835" y="109"/>
                        </a:lnTo>
                        <a:lnTo>
                          <a:pt x="836" y="116"/>
                        </a:lnTo>
                        <a:lnTo>
                          <a:pt x="837" y="123"/>
                        </a:lnTo>
                        <a:lnTo>
                          <a:pt x="836" y="150"/>
                        </a:lnTo>
                        <a:lnTo>
                          <a:pt x="836" y="175"/>
                        </a:lnTo>
                        <a:lnTo>
                          <a:pt x="837" y="187"/>
                        </a:lnTo>
                        <a:lnTo>
                          <a:pt x="838" y="200"/>
                        </a:lnTo>
                        <a:lnTo>
                          <a:pt x="842" y="211"/>
                        </a:lnTo>
                        <a:lnTo>
                          <a:pt x="845" y="222"/>
                        </a:lnTo>
                        <a:lnTo>
                          <a:pt x="851" y="232"/>
                        </a:lnTo>
                        <a:lnTo>
                          <a:pt x="857" y="243"/>
                        </a:lnTo>
                        <a:lnTo>
                          <a:pt x="866" y="253"/>
                        </a:lnTo>
                        <a:lnTo>
                          <a:pt x="876" y="264"/>
                        </a:lnTo>
                        <a:lnTo>
                          <a:pt x="889" y="273"/>
                        </a:lnTo>
                        <a:lnTo>
                          <a:pt x="904" y="283"/>
                        </a:lnTo>
                        <a:lnTo>
                          <a:pt x="922" y="292"/>
                        </a:lnTo>
                        <a:lnTo>
                          <a:pt x="943" y="301"/>
                        </a:lnTo>
                        <a:lnTo>
                          <a:pt x="928" y="314"/>
                        </a:lnTo>
                        <a:lnTo>
                          <a:pt x="913" y="328"/>
                        </a:lnTo>
                        <a:lnTo>
                          <a:pt x="896" y="344"/>
                        </a:lnTo>
                        <a:lnTo>
                          <a:pt x="879" y="361"/>
                        </a:lnTo>
                        <a:lnTo>
                          <a:pt x="871" y="370"/>
                        </a:lnTo>
                        <a:lnTo>
                          <a:pt x="865" y="380"/>
                        </a:lnTo>
                        <a:lnTo>
                          <a:pt x="859" y="389"/>
                        </a:lnTo>
                        <a:lnTo>
                          <a:pt x="854" y="399"/>
                        </a:lnTo>
                        <a:lnTo>
                          <a:pt x="851" y="410"/>
                        </a:lnTo>
                        <a:lnTo>
                          <a:pt x="849" y="420"/>
                        </a:lnTo>
                        <a:lnTo>
                          <a:pt x="848" y="432"/>
                        </a:lnTo>
                        <a:lnTo>
                          <a:pt x="851" y="443"/>
                        </a:lnTo>
                        <a:lnTo>
                          <a:pt x="830" y="616"/>
                        </a:lnTo>
                        <a:lnTo>
                          <a:pt x="809" y="635"/>
                        </a:lnTo>
                        <a:lnTo>
                          <a:pt x="787" y="652"/>
                        </a:lnTo>
                        <a:lnTo>
                          <a:pt x="782" y="658"/>
                        </a:lnTo>
                        <a:lnTo>
                          <a:pt x="778" y="663"/>
                        </a:lnTo>
                        <a:lnTo>
                          <a:pt x="774" y="670"/>
                        </a:lnTo>
                        <a:lnTo>
                          <a:pt x="770" y="677"/>
                        </a:lnTo>
                        <a:lnTo>
                          <a:pt x="767" y="686"/>
                        </a:lnTo>
                        <a:lnTo>
                          <a:pt x="766" y="696"/>
                        </a:lnTo>
                        <a:lnTo>
                          <a:pt x="764" y="708"/>
                        </a:lnTo>
                        <a:lnTo>
                          <a:pt x="764" y="721"/>
                        </a:lnTo>
                        <a:lnTo>
                          <a:pt x="763" y="721"/>
                        </a:lnTo>
                        <a:lnTo>
                          <a:pt x="758" y="721"/>
                        </a:lnTo>
                        <a:lnTo>
                          <a:pt x="755" y="723"/>
                        </a:lnTo>
                        <a:lnTo>
                          <a:pt x="752" y="726"/>
                        </a:lnTo>
                        <a:lnTo>
                          <a:pt x="748" y="730"/>
                        </a:lnTo>
                        <a:lnTo>
                          <a:pt x="745" y="735"/>
                        </a:lnTo>
                        <a:lnTo>
                          <a:pt x="741" y="743"/>
                        </a:lnTo>
                        <a:lnTo>
                          <a:pt x="736" y="752"/>
                        </a:lnTo>
                        <a:lnTo>
                          <a:pt x="732" y="766"/>
                        </a:lnTo>
                        <a:lnTo>
                          <a:pt x="728" y="780"/>
                        </a:lnTo>
                        <a:lnTo>
                          <a:pt x="723" y="798"/>
                        </a:lnTo>
                        <a:lnTo>
                          <a:pt x="719" y="821"/>
                        </a:lnTo>
                        <a:lnTo>
                          <a:pt x="714" y="845"/>
                        </a:lnTo>
                        <a:lnTo>
                          <a:pt x="711" y="875"/>
                        </a:lnTo>
                        <a:lnTo>
                          <a:pt x="701" y="875"/>
                        </a:lnTo>
                        <a:lnTo>
                          <a:pt x="692" y="877"/>
                        </a:lnTo>
                        <a:lnTo>
                          <a:pt x="684" y="880"/>
                        </a:lnTo>
                        <a:lnTo>
                          <a:pt x="677" y="884"/>
                        </a:lnTo>
                        <a:lnTo>
                          <a:pt x="670" y="890"/>
                        </a:lnTo>
                        <a:lnTo>
                          <a:pt x="665" y="896"/>
                        </a:lnTo>
                        <a:lnTo>
                          <a:pt x="662" y="903"/>
                        </a:lnTo>
                        <a:lnTo>
                          <a:pt x="659" y="910"/>
                        </a:lnTo>
                        <a:lnTo>
                          <a:pt x="658" y="917"/>
                        </a:lnTo>
                        <a:lnTo>
                          <a:pt x="658" y="924"/>
                        </a:lnTo>
                        <a:lnTo>
                          <a:pt x="661" y="929"/>
                        </a:lnTo>
                        <a:lnTo>
                          <a:pt x="664" y="934"/>
                        </a:lnTo>
                        <a:lnTo>
                          <a:pt x="666" y="936"/>
                        </a:lnTo>
                        <a:lnTo>
                          <a:pt x="669" y="937"/>
                        </a:lnTo>
                        <a:lnTo>
                          <a:pt x="673" y="938"/>
                        </a:lnTo>
                        <a:lnTo>
                          <a:pt x="677" y="939"/>
                        </a:lnTo>
                        <a:lnTo>
                          <a:pt x="686" y="939"/>
                        </a:lnTo>
                        <a:lnTo>
                          <a:pt x="697" y="936"/>
                        </a:lnTo>
                        <a:lnTo>
                          <a:pt x="700" y="941"/>
                        </a:lnTo>
                        <a:lnTo>
                          <a:pt x="702" y="944"/>
                        </a:lnTo>
                        <a:lnTo>
                          <a:pt x="706" y="947"/>
                        </a:lnTo>
                        <a:lnTo>
                          <a:pt x="709" y="950"/>
                        </a:lnTo>
                        <a:lnTo>
                          <a:pt x="717" y="955"/>
                        </a:lnTo>
                        <a:lnTo>
                          <a:pt x="724" y="958"/>
                        </a:lnTo>
                        <a:lnTo>
                          <a:pt x="731" y="963"/>
                        </a:lnTo>
                        <a:lnTo>
                          <a:pt x="739" y="968"/>
                        </a:lnTo>
                        <a:lnTo>
                          <a:pt x="742" y="971"/>
                        </a:lnTo>
                        <a:lnTo>
                          <a:pt x="745" y="975"/>
                        </a:lnTo>
                        <a:lnTo>
                          <a:pt x="747" y="981"/>
                        </a:lnTo>
                        <a:lnTo>
                          <a:pt x="751" y="986"/>
                        </a:lnTo>
                        <a:lnTo>
                          <a:pt x="753" y="996"/>
                        </a:lnTo>
                        <a:lnTo>
                          <a:pt x="756" y="1007"/>
                        </a:lnTo>
                        <a:lnTo>
                          <a:pt x="759" y="1018"/>
                        </a:lnTo>
                        <a:lnTo>
                          <a:pt x="765" y="1028"/>
                        </a:lnTo>
                        <a:lnTo>
                          <a:pt x="767" y="1033"/>
                        </a:lnTo>
                        <a:lnTo>
                          <a:pt x="771" y="1039"/>
                        </a:lnTo>
                        <a:lnTo>
                          <a:pt x="775" y="1043"/>
                        </a:lnTo>
                        <a:lnTo>
                          <a:pt x="779" y="1046"/>
                        </a:lnTo>
                        <a:lnTo>
                          <a:pt x="785" y="1049"/>
                        </a:lnTo>
                        <a:lnTo>
                          <a:pt x="790" y="1052"/>
                        </a:lnTo>
                        <a:lnTo>
                          <a:pt x="797" y="1053"/>
                        </a:lnTo>
                        <a:lnTo>
                          <a:pt x="803" y="1053"/>
                        </a:lnTo>
                        <a:lnTo>
                          <a:pt x="810" y="1063"/>
                        </a:lnTo>
                        <a:lnTo>
                          <a:pt x="814" y="1071"/>
                        </a:lnTo>
                        <a:lnTo>
                          <a:pt x="815" y="1076"/>
                        </a:lnTo>
                        <a:lnTo>
                          <a:pt x="815" y="1081"/>
                        </a:lnTo>
                        <a:lnTo>
                          <a:pt x="809" y="1094"/>
                        </a:lnTo>
                        <a:lnTo>
                          <a:pt x="797" y="1115"/>
                        </a:lnTo>
                        <a:lnTo>
                          <a:pt x="776" y="1115"/>
                        </a:lnTo>
                        <a:lnTo>
                          <a:pt x="755" y="1115"/>
                        </a:lnTo>
                        <a:lnTo>
                          <a:pt x="734" y="1115"/>
                        </a:lnTo>
                        <a:lnTo>
                          <a:pt x="718" y="1115"/>
                        </a:lnTo>
                        <a:lnTo>
                          <a:pt x="718" y="1127"/>
                        </a:lnTo>
                        <a:lnTo>
                          <a:pt x="718" y="1139"/>
                        </a:lnTo>
                        <a:lnTo>
                          <a:pt x="711" y="1143"/>
                        </a:lnTo>
                        <a:lnTo>
                          <a:pt x="697" y="1152"/>
                        </a:lnTo>
                        <a:lnTo>
                          <a:pt x="687" y="1157"/>
                        </a:lnTo>
                        <a:lnTo>
                          <a:pt x="675" y="1161"/>
                        </a:lnTo>
                        <a:lnTo>
                          <a:pt x="663" y="1163"/>
                        </a:lnTo>
                        <a:lnTo>
                          <a:pt x="651" y="1164"/>
                        </a:lnTo>
                        <a:lnTo>
                          <a:pt x="628" y="1166"/>
                        </a:lnTo>
                        <a:lnTo>
                          <a:pt x="598" y="1170"/>
                        </a:lnTo>
                        <a:lnTo>
                          <a:pt x="583" y="1171"/>
                        </a:lnTo>
                        <a:lnTo>
                          <a:pt x="566" y="1172"/>
                        </a:lnTo>
                        <a:lnTo>
                          <a:pt x="549" y="1172"/>
                        </a:lnTo>
                        <a:lnTo>
                          <a:pt x="531" y="1170"/>
                        </a:lnTo>
                        <a:lnTo>
                          <a:pt x="515" y="1158"/>
                        </a:lnTo>
                        <a:lnTo>
                          <a:pt x="496" y="1141"/>
                        </a:lnTo>
                        <a:lnTo>
                          <a:pt x="486" y="1133"/>
                        </a:lnTo>
                        <a:lnTo>
                          <a:pt x="475" y="1127"/>
                        </a:lnTo>
                        <a:lnTo>
                          <a:pt x="470" y="1124"/>
                        </a:lnTo>
                        <a:lnTo>
                          <a:pt x="464" y="1123"/>
                        </a:lnTo>
                        <a:lnTo>
                          <a:pt x="457" y="1121"/>
                        </a:lnTo>
                        <a:lnTo>
                          <a:pt x="452" y="1121"/>
                        </a:lnTo>
                        <a:lnTo>
                          <a:pt x="432" y="1122"/>
                        </a:lnTo>
                        <a:lnTo>
                          <a:pt x="405" y="1124"/>
                        </a:lnTo>
                        <a:lnTo>
                          <a:pt x="390" y="1125"/>
                        </a:lnTo>
                        <a:lnTo>
                          <a:pt x="375" y="1126"/>
                        </a:lnTo>
                        <a:lnTo>
                          <a:pt x="360" y="1126"/>
                        </a:lnTo>
                        <a:lnTo>
                          <a:pt x="345" y="1125"/>
                        </a:lnTo>
                        <a:lnTo>
                          <a:pt x="331" y="1123"/>
                        </a:lnTo>
                        <a:lnTo>
                          <a:pt x="319" y="1120"/>
                        </a:lnTo>
                        <a:lnTo>
                          <a:pt x="314" y="1117"/>
                        </a:lnTo>
                        <a:lnTo>
                          <a:pt x="308" y="1115"/>
                        </a:lnTo>
                        <a:lnTo>
                          <a:pt x="304" y="1112"/>
                        </a:lnTo>
                        <a:lnTo>
                          <a:pt x="300" y="1108"/>
                        </a:lnTo>
                        <a:lnTo>
                          <a:pt x="297" y="1104"/>
                        </a:lnTo>
                        <a:lnTo>
                          <a:pt x="295" y="1100"/>
                        </a:lnTo>
                        <a:lnTo>
                          <a:pt x="293" y="1095"/>
                        </a:lnTo>
                        <a:lnTo>
                          <a:pt x="292" y="1088"/>
                        </a:lnTo>
                        <a:lnTo>
                          <a:pt x="293" y="1082"/>
                        </a:lnTo>
                        <a:lnTo>
                          <a:pt x="294" y="1075"/>
                        </a:lnTo>
                        <a:lnTo>
                          <a:pt x="295" y="1068"/>
                        </a:lnTo>
                        <a:lnTo>
                          <a:pt x="298" y="1060"/>
                        </a:lnTo>
                        <a:lnTo>
                          <a:pt x="291" y="1049"/>
                        </a:lnTo>
                        <a:lnTo>
                          <a:pt x="283" y="1039"/>
                        </a:lnTo>
                        <a:lnTo>
                          <a:pt x="274" y="1029"/>
                        </a:lnTo>
                        <a:lnTo>
                          <a:pt x="265" y="1021"/>
                        </a:lnTo>
                        <a:lnTo>
                          <a:pt x="248" y="1005"/>
                        </a:lnTo>
                        <a:lnTo>
                          <a:pt x="230" y="990"/>
                        </a:lnTo>
                        <a:lnTo>
                          <a:pt x="222" y="983"/>
                        </a:lnTo>
                        <a:lnTo>
                          <a:pt x="216" y="974"/>
                        </a:lnTo>
                        <a:lnTo>
                          <a:pt x="209" y="966"/>
                        </a:lnTo>
                        <a:lnTo>
                          <a:pt x="204" y="957"/>
                        </a:lnTo>
                        <a:lnTo>
                          <a:pt x="198" y="947"/>
                        </a:lnTo>
                        <a:lnTo>
                          <a:pt x="195" y="937"/>
                        </a:lnTo>
                        <a:lnTo>
                          <a:pt x="193" y="925"/>
                        </a:lnTo>
                        <a:lnTo>
                          <a:pt x="193" y="911"/>
                        </a:lnTo>
                        <a:lnTo>
                          <a:pt x="180" y="911"/>
                        </a:lnTo>
                        <a:lnTo>
                          <a:pt x="169" y="909"/>
                        </a:lnTo>
                        <a:lnTo>
                          <a:pt x="160" y="907"/>
                        </a:lnTo>
                        <a:lnTo>
                          <a:pt x="152" y="903"/>
                        </a:lnTo>
                        <a:lnTo>
                          <a:pt x="146" y="898"/>
                        </a:lnTo>
                        <a:lnTo>
                          <a:pt x="140" y="893"/>
                        </a:lnTo>
                        <a:lnTo>
                          <a:pt x="136" y="887"/>
                        </a:lnTo>
                        <a:lnTo>
                          <a:pt x="131" y="880"/>
                        </a:lnTo>
                        <a:lnTo>
                          <a:pt x="120" y="846"/>
                        </a:lnTo>
                        <a:lnTo>
                          <a:pt x="106" y="806"/>
                        </a:lnTo>
                        <a:lnTo>
                          <a:pt x="105" y="801"/>
                        </a:lnTo>
                        <a:lnTo>
                          <a:pt x="103" y="796"/>
                        </a:lnTo>
                        <a:lnTo>
                          <a:pt x="99" y="792"/>
                        </a:lnTo>
                        <a:lnTo>
                          <a:pt x="97" y="788"/>
                        </a:lnTo>
                        <a:lnTo>
                          <a:pt x="90" y="780"/>
                        </a:lnTo>
                        <a:lnTo>
                          <a:pt x="83" y="774"/>
                        </a:lnTo>
                        <a:lnTo>
                          <a:pt x="75" y="768"/>
                        </a:lnTo>
                        <a:lnTo>
                          <a:pt x="69" y="761"/>
                        </a:lnTo>
                        <a:lnTo>
                          <a:pt x="65" y="758"/>
                        </a:lnTo>
                        <a:lnTo>
                          <a:pt x="63" y="753"/>
                        </a:lnTo>
                        <a:lnTo>
                          <a:pt x="61" y="749"/>
                        </a:lnTo>
                        <a:lnTo>
                          <a:pt x="60" y="745"/>
                        </a:lnTo>
                        <a:lnTo>
                          <a:pt x="46" y="711"/>
                        </a:lnTo>
                        <a:lnTo>
                          <a:pt x="33" y="676"/>
                        </a:lnTo>
                        <a:lnTo>
                          <a:pt x="25" y="659"/>
                        </a:lnTo>
                        <a:lnTo>
                          <a:pt x="17" y="643"/>
                        </a:lnTo>
                        <a:lnTo>
                          <a:pt x="9" y="628"/>
                        </a:lnTo>
                        <a:lnTo>
                          <a:pt x="0" y="616"/>
                        </a:lnTo>
                        <a:lnTo>
                          <a:pt x="4" y="611"/>
                        </a:lnTo>
                        <a:lnTo>
                          <a:pt x="8" y="607"/>
                        </a:lnTo>
                        <a:lnTo>
                          <a:pt x="11" y="602"/>
                        </a:lnTo>
                        <a:lnTo>
                          <a:pt x="13" y="598"/>
                        </a:lnTo>
                        <a:lnTo>
                          <a:pt x="16" y="587"/>
                        </a:lnTo>
                        <a:lnTo>
                          <a:pt x="18" y="577"/>
                        </a:lnTo>
                        <a:lnTo>
                          <a:pt x="19" y="567"/>
                        </a:lnTo>
                        <a:lnTo>
                          <a:pt x="20" y="555"/>
                        </a:lnTo>
                        <a:lnTo>
                          <a:pt x="23" y="543"/>
                        </a:lnTo>
                        <a:lnTo>
                          <a:pt x="26" y="529"/>
                        </a:lnTo>
                        <a:lnTo>
                          <a:pt x="29" y="521"/>
                        </a:lnTo>
                        <a:lnTo>
                          <a:pt x="33" y="514"/>
                        </a:lnTo>
                        <a:lnTo>
                          <a:pt x="37" y="507"/>
                        </a:lnTo>
                        <a:lnTo>
                          <a:pt x="41" y="500"/>
                        </a:lnTo>
                        <a:lnTo>
                          <a:pt x="52" y="487"/>
                        </a:lnTo>
                        <a:lnTo>
                          <a:pt x="64" y="474"/>
                        </a:lnTo>
                        <a:lnTo>
                          <a:pt x="78" y="464"/>
                        </a:lnTo>
                        <a:lnTo>
                          <a:pt x="90" y="456"/>
                        </a:lnTo>
                        <a:lnTo>
                          <a:pt x="102" y="449"/>
                        </a:lnTo>
                        <a:lnTo>
                          <a:pt x="113" y="443"/>
                        </a:lnTo>
                        <a:lnTo>
                          <a:pt x="113" y="222"/>
                        </a:lnTo>
                        <a:lnTo>
                          <a:pt x="113" y="212"/>
                        </a:lnTo>
                        <a:lnTo>
                          <a:pt x="113" y="200"/>
                        </a:lnTo>
                        <a:lnTo>
                          <a:pt x="113" y="188"/>
                        </a:lnTo>
                        <a:lnTo>
                          <a:pt x="113" y="178"/>
                        </a:lnTo>
                        <a:lnTo>
                          <a:pt x="123" y="179"/>
                        </a:lnTo>
                        <a:lnTo>
                          <a:pt x="131" y="179"/>
                        </a:lnTo>
                        <a:lnTo>
                          <a:pt x="139" y="178"/>
                        </a:lnTo>
                        <a:lnTo>
                          <a:pt x="146" y="176"/>
                        </a:lnTo>
                        <a:lnTo>
                          <a:pt x="150" y="174"/>
                        </a:lnTo>
                        <a:lnTo>
                          <a:pt x="153" y="171"/>
                        </a:lnTo>
                        <a:lnTo>
                          <a:pt x="157" y="167"/>
                        </a:lnTo>
                        <a:lnTo>
                          <a:pt x="159" y="162"/>
                        </a:lnTo>
                        <a:lnTo>
                          <a:pt x="160" y="152"/>
                        </a:lnTo>
                        <a:lnTo>
                          <a:pt x="160" y="137"/>
                        </a:lnTo>
                        <a:lnTo>
                          <a:pt x="160" y="122"/>
                        </a:lnTo>
                        <a:lnTo>
                          <a:pt x="159" y="105"/>
                        </a:lnTo>
                        <a:lnTo>
                          <a:pt x="159" y="93"/>
                        </a:lnTo>
                        <a:lnTo>
                          <a:pt x="159" y="83"/>
                        </a:lnTo>
                        <a:lnTo>
                          <a:pt x="159" y="76"/>
                        </a:lnTo>
                        <a:lnTo>
                          <a:pt x="159" y="67"/>
                        </a:lnTo>
                        <a:lnTo>
                          <a:pt x="664" y="73"/>
                        </a:lnTo>
                        <a:lnTo>
                          <a:pt x="668" y="74"/>
                        </a:lnTo>
                        <a:lnTo>
                          <a:pt x="672" y="73"/>
                        </a:lnTo>
                        <a:lnTo>
                          <a:pt x="676" y="72"/>
                        </a:lnTo>
                        <a:lnTo>
                          <a:pt x="679" y="69"/>
                        </a:lnTo>
                        <a:lnTo>
                          <a:pt x="688" y="63"/>
                        </a:lnTo>
                        <a:lnTo>
                          <a:pt x="695" y="54"/>
                        </a:lnTo>
                        <a:lnTo>
                          <a:pt x="707" y="38"/>
                        </a:lnTo>
                        <a:lnTo>
                          <a:pt x="711" y="30"/>
                        </a:lnTo>
                      </a:path>
                    </a:pathLst>
                  </a:custGeom>
                  <a:solidFill>
                    <a:srgbClr val="C0C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798" name="Freeform 356">
                    <a:hlinkClick r:id="rId57" action="ppaction://hlinkpres?slideindex=1&amp;slidetitle=" tooltip="Somalia"/>
                  </p:cNvPr>
                  <p:cNvSpPr>
                    <a:spLocks/>
                  </p:cNvSpPr>
                  <p:nvPr>
                    <p:custDataLst>
                      <p:tags r:id="rId29"/>
                    </p:custDataLst>
                  </p:nvPr>
                </p:nvSpPr>
                <p:spPr bwMode="auto">
                  <a:xfrm>
                    <a:off x="6819900" y="2643664"/>
                    <a:ext cx="776436" cy="1020113"/>
                  </a:xfrm>
                  <a:custGeom>
                    <a:avLst/>
                    <a:gdLst>
                      <a:gd name="T0" fmla="*/ 2147483647 w 556"/>
                      <a:gd name="T1" fmla="*/ 2147483647 h 819"/>
                      <a:gd name="T2" fmla="*/ 2147483647 w 556"/>
                      <a:gd name="T3" fmla="*/ 2147483647 h 819"/>
                      <a:gd name="T4" fmla="*/ 2147483647 w 556"/>
                      <a:gd name="T5" fmla="*/ 2147483647 h 819"/>
                      <a:gd name="T6" fmla="*/ 2147483647 w 556"/>
                      <a:gd name="T7" fmla="*/ 2147483647 h 819"/>
                      <a:gd name="T8" fmla="*/ 2147483647 w 556"/>
                      <a:gd name="T9" fmla="*/ 2147483647 h 819"/>
                      <a:gd name="T10" fmla="*/ 2147483647 w 556"/>
                      <a:gd name="T11" fmla="*/ 2147483647 h 819"/>
                      <a:gd name="T12" fmla="*/ 2147483647 w 556"/>
                      <a:gd name="T13" fmla="*/ 2147483647 h 819"/>
                      <a:gd name="T14" fmla="*/ 2147483647 w 556"/>
                      <a:gd name="T15" fmla="*/ 2147483647 h 819"/>
                      <a:gd name="T16" fmla="*/ 2147483647 w 556"/>
                      <a:gd name="T17" fmla="*/ 2147483647 h 819"/>
                      <a:gd name="T18" fmla="*/ 2147483647 w 556"/>
                      <a:gd name="T19" fmla="*/ 2147483647 h 819"/>
                      <a:gd name="T20" fmla="*/ 2147483647 w 556"/>
                      <a:gd name="T21" fmla="*/ 2147483647 h 819"/>
                      <a:gd name="T22" fmla="*/ 2147483647 w 556"/>
                      <a:gd name="T23" fmla="*/ 2147483647 h 819"/>
                      <a:gd name="T24" fmla="*/ 2147483647 w 556"/>
                      <a:gd name="T25" fmla="*/ 2147483647 h 819"/>
                      <a:gd name="T26" fmla="*/ 2147483647 w 556"/>
                      <a:gd name="T27" fmla="*/ 2147483647 h 819"/>
                      <a:gd name="T28" fmla="*/ 2147483647 w 556"/>
                      <a:gd name="T29" fmla="*/ 2147483647 h 819"/>
                      <a:gd name="T30" fmla="*/ 2147483647 w 556"/>
                      <a:gd name="T31" fmla="*/ 2147483647 h 819"/>
                      <a:gd name="T32" fmla="*/ 2147483647 w 556"/>
                      <a:gd name="T33" fmla="*/ 2147483647 h 819"/>
                      <a:gd name="T34" fmla="*/ 2147483647 w 556"/>
                      <a:gd name="T35" fmla="*/ 2147483647 h 819"/>
                      <a:gd name="T36" fmla="*/ 2147483647 w 556"/>
                      <a:gd name="T37" fmla="*/ 2147483647 h 819"/>
                      <a:gd name="T38" fmla="*/ 2147483647 w 556"/>
                      <a:gd name="T39" fmla="*/ 2147483647 h 819"/>
                      <a:gd name="T40" fmla="*/ 2147483647 w 556"/>
                      <a:gd name="T41" fmla="*/ 2147483647 h 819"/>
                      <a:gd name="T42" fmla="*/ 2147483647 w 556"/>
                      <a:gd name="T43" fmla="*/ 2147483647 h 819"/>
                      <a:gd name="T44" fmla="*/ 2147483647 w 556"/>
                      <a:gd name="T45" fmla="*/ 2147483647 h 819"/>
                      <a:gd name="T46" fmla="*/ 2147483647 w 556"/>
                      <a:gd name="T47" fmla="*/ 2147483647 h 819"/>
                      <a:gd name="T48" fmla="*/ 2147483647 w 556"/>
                      <a:gd name="T49" fmla="*/ 2147483647 h 819"/>
                      <a:gd name="T50" fmla="*/ 2147483647 w 556"/>
                      <a:gd name="T51" fmla="*/ 2147483647 h 819"/>
                      <a:gd name="T52" fmla="*/ 2147483647 w 556"/>
                      <a:gd name="T53" fmla="*/ 2147483647 h 819"/>
                      <a:gd name="T54" fmla="*/ 2147483647 w 556"/>
                      <a:gd name="T55" fmla="*/ 2147483647 h 819"/>
                      <a:gd name="T56" fmla="*/ 2147483647 w 556"/>
                      <a:gd name="T57" fmla="*/ 2147483647 h 819"/>
                      <a:gd name="T58" fmla="*/ 2147483647 w 556"/>
                      <a:gd name="T59" fmla="*/ 2147483647 h 819"/>
                      <a:gd name="T60" fmla="*/ 2147483647 w 556"/>
                      <a:gd name="T61" fmla="*/ 2147483647 h 819"/>
                      <a:gd name="T62" fmla="*/ 2147483647 w 556"/>
                      <a:gd name="T63" fmla="*/ 2147483647 h 819"/>
                      <a:gd name="T64" fmla="*/ 2147483647 w 556"/>
                      <a:gd name="T65" fmla="*/ 2147483647 h 819"/>
                      <a:gd name="T66" fmla="*/ 2147483647 w 556"/>
                      <a:gd name="T67" fmla="*/ 2147483647 h 819"/>
                      <a:gd name="T68" fmla="*/ 2147483647 w 556"/>
                      <a:gd name="T69" fmla="*/ 2147483647 h 819"/>
                      <a:gd name="T70" fmla="*/ 2147483647 w 556"/>
                      <a:gd name="T71" fmla="*/ 2147483647 h 819"/>
                      <a:gd name="T72" fmla="*/ 2147483647 w 556"/>
                      <a:gd name="T73" fmla="*/ 2147483647 h 819"/>
                      <a:gd name="T74" fmla="*/ 2147483647 w 556"/>
                      <a:gd name="T75" fmla="*/ 2147483647 h 819"/>
                      <a:gd name="T76" fmla="*/ 2147483647 w 556"/>
                      <a:gd name="T77" fmla="*/ 2147483647 h 819"/>
                      <a:gd name="T78" fmla="*/ 2147483647 w 556"/>
                      <a:gd name="T79" fmla="*/ 2147483647 h 819"/>
                      <a:gd name="T80" fmla="*/ 2147483647 w 556"/>
                      <a:gd name="T81" fmla="*/ 2147483647 h 819"/>
                      <a:gd name="T82" fmla="*/ 2147483647 w 556"/>
                      <a:gd name="T83" fmla="*/ 2147483647 h 819"/>
                      <a:gd name="T84" fmla="*/ 2147483647 w 556"/>
                      <a:gd name="T85" fmla="*/ 2147483647 h 819"/>
                      <a:gd name="T86" fmla="*/ 2147483647 w 556"/>
                      <a:gd name="T87" fmla="*/ 2147483647 h 819"/>
                      <a:gd name="T88" fmla="*/ 2147483647 w 556"/>
                      <a:gd name="T89" fmla="*/ 2147483647 h 819"/>
                      <a:gd name="T90" fmla="*/ 2147483647 w 556"/>
                      <a:gd name="T91" fmla="*/ 2147483647 h 819"/>
                      <a:gd name="T92" fmla="*/ 2147483647 w 556"/>
                      <a:gd name="T93" fmla="*/ 2147483647 h 819"/>
                      <a:gd name="T94" fmla="*/ 2147483647 w 556"/>
                      <a:gd name="T95" fmla="*/ 2147483647 h 819"/>
                      <a:gd name="T96" fmla="*/ 2147483647 w 556"/>
                      <a:gd name="T97" fmla="*/ 2147483647 h 819"/>
                      <a:gd name="T98" fmla="*/ 2147483647 w 556"/>
                      <a:gd name="T99" fmla="*/ 2147483647 h 819"/>
                      <a:gd name="T100" fmla="*/ 2147483647 w 556"/>
                      <a:gd name="T101" fmla="*/ 2147483647 h 819"/>
                      <a:gd name="T102" fmla="*/ 2147483647 w 556"/>
                      <a:gd name="T103" fmla="*/ 2147483647 h 819"/>
                      <a:gd name="T104" fmla="*/ 2147483647 w 556"/>
                      <a:gd name="T105" fmla="*/ 2147483647 h 819"/>
                      <a:gd name="T106" fmla="*/ 2147483647 w 556"/>
                      <a:gd name="T107" fmla="*/ 2147483647 h 819"/>
                      <a:gd name="T108" fmla="*/ 2147483647 w 556"/>
                      <a:gd name="T109" fmla="*/ 2147483647 h 819"/>
                      <a:gd name="T110" fmla="*/ 2147483647 w 556"/>
                      <a:gd name="T111" fmla="*/ 2147483647 h 819"/>
                      <a:gd name="T112" fmla="*/ 2147483647 w 556"/>
                      <a:gd name="T113" fmla="*/ 2147483647 h 819"/>
                      <a:gd name="T114" fmla="*/ 2147483647 w 556"/>
                      <a:gd name="T115" fmla="*/ 2147483647 h 819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556"/>
                      <a:gd name="T175" fmla="*/ 0 h 819"/>
                      <a:gd name="T176" fmla="*/ 556 w 556"/>
                      <a:gd name="T177" fmla="*/ 819 h 819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556" h="819">
                        <a:moveTo>
                          <a:pt x="84" y="68"/>
                        </a:moveTo>
                        <a:lnTo>
                          <a:pt x="90" y="66"/>
                        </a:lnTo>
                        <a:lnTo>
                          <a:pt x="98" y="62"/>
                        </a:lnTo>
                        <a:lnTo>
                          <a:pt x="103" y="59"/>
                        </a:lnTo>
                        <a:lnTo>
                          <a:pt x="108" y="58"/>
                        </a:lnTo>
                        <a:lnTo>
                          <a:pt x="112" y="56"/>
                        </a:lnTo>
                        <a:lnTo>
                          <a:pt x="118" y="56"/>
                        </a:lnTo>
                        <a:lnTo>
                          <a:pt x="122" y="62"/>
                        </a:lnTo>
                        <a:lnTo>
                          <a:pt x="129" y="69"/>
                        </a:lnTo>
                        <a:lnTo>
                          <a:pt x="134" y="75"/>
                        </a:lnTo>
                        <a:lnTo>
                          <a:pt x="141" y="81"/>
                        </a:lnTo>
                        <a:lnTo>
                          <a:pt x="149" y="85"/>
                        </a:lnTo>
                        <a:lnTo>
                          <a:pt x="155" y="89"/>
                        </a:lnTo>
                        <a:lnTo>
                          <a:pt x="163" y="91"/>
                        </a:lnTo>
                        <a:lnTo>
                          <a:pt x="171" y="92"/>
                        </a:lnTo>
                        <a:lnTo>
                          <a:pt x="186" y="91"/>
                        </a:lnTo>
                        <a:lnTo>
                          <a:pt x="200" y="90"/>
                        </a:lnTo>
                        <a:lnTo>
                          <a:pt x="215" y="88"/>
                        </a:lnTo>
                        <a:lnTo>
                          <a:pt x="230" y="86"/>
                        </a:lnTo>
                        <a:lnTo>
                          <a:pt x="244" y="84"/>
                        </a:lnTo>
                        <a:lnTo>
                          <a:pt x="257" y="82"/>
                        </a:lnTo>
                        <a:lnTo>
                          <a:pt x="271" y="80"/>
                        </a:lnTo>
                        <a:lnTo>
                          <a:pt x="284" y="80"/>
                        </a:lnTo>
                        <a:lnTo>
                          <a:pt x="291" y="79"/>
                        </a:lnTo>
                        <a:lnTo>
                          <a:pt x="297" y="78"/>
                        </a:lnTo>
                        <a:lnTo>
                          <a:pt x="300" y="76"/>
                        </a:lnTo>
                        <a:lnTo>
                          <a:pt x="301" y="74"/>
                        </a:lnTo>
                        <a:lnTo>
                          <a:pt x="301" y="72"/>
                        </a:lnTo>
                        <a:lnTo>
                          <a:pt x="301" y="70"/>
                        </a:lnTo>
                        <a:lnTo>
                          <a:pt x="301" y="68"/>
                        </a:lnTo>
                        <a:lnTo>
                          <a:pt x="303" y="68"/>
                        </a:lnTo>
                        <a:lnTo>
                          <a:pt x="327" y="67"/>
                        </a:lnTo>
                        <a:lnTo>
                          <a:pt x="355" y="63"/>
                        </a:lnTo>
                        <a:lnTo>
                          <a:pt x="386" y="58"/>
                        </a:lnTo>
                        <a:lnTo>
                          <a:pt x="418" y="50"/>
                        </a:lnTo>
                        <a:lnTo>
                          <a:pt x="434" y="45"/>
                        </a:lnTo>
                        <a:lnTo>
                          <a:pt x="450" y="40"/>
                        </a:lnTo>
                        <a:lnTo>
                          <a:pt x="465" y="34"/>
                        </a:lnTo>
                        <a:lnTo>
                          <a:pt x="479" y="28"/>
                        </a:lnTo>
                        <a:lnTo>
                          <a:pt x="492" y="22"/>
                        </a:lnTo>
                        <a:lnTo>
                          <a:pt x="504" y="15"/>
                        </a:lnTo>
                        <a:lnTo>
                          <a:pt x="514" y="8"/>
                        </a:lnTo>
                        <a:lnTo>
                          <a:pt x="523" y="0"/>
                        </a:lnTo>
                        <a:lnTo>
                          <a:pt x="536" y="17"/>
                        </a:lnTo>
                        <a:lnTo>
                          <a:pt x="547" y="31"/>
                        </a:lnTo>
                        <a:lnTo>
                          <a:pt x="551" y="39"/>
                        </a:lnTo>
                        <a:lnTo>
                          <a:pt x="554" y="48"/>
                        </a:lnTo>
                        <a:lnTo>
                          <a:pt x="555" y="57"/>
                        </a:lnTo>
                        <a:lnTo>
                          <a:pt x="556" y="68"/>
                        </a:lnTo>
                        <a:lnTo>
                          <a:pt x="555" y="90"/>
                        </a:lnTo>
                        <a:lnTo>
                          <a:pt x="552" y="113"/>
                        </a:lnTo>
                        <a:lnTo>
                          <a:pt x="546" y="133"/>
                        </a:lnTo>
                        <a:lnTo>
                          <a:pt x="540" y="153"/>
                        </a:lnTo>
                        <a:lnTo>
                          <a:pt x="532" y="174"/>
                        </a:lnTo>
                        <a:lnTo>
                          <a:pt x="523" y="193"/>
                        </a:lnTo>
                        <a:lnTo>
                          <a:pt x="512" y="212"/>
                        </a:lnTo>
                        <a:lnTo>
                          <a:pt x="502" y="231"/>
                        </a:lnTo>
                        <a:lnTo>
                          <a:pt x="479" y="267"/>
                        </a:lnTo>
                        <a:lnTo>
                          <a:pt x="458" y="303"/>
                        </a:lnTo>
                        <a:lnTo>
                          <a:pt x="447" y="321"/>
                        </a:lnTo>
                        <a:lnTo>
                          <a:pt x="439" y="339"/>
                        </a:lnTo>
                        <a:lnTo>
                          <a:pt x="430" y="357"/>
                        </a:lnTo>
                        <a:lnTo>
                          <a:pt x="423" y="375"/>
                        </a:lnTo>
                        <a:lnTo>
                          <a:pt x="419" y="390"/>
                        </a:lnTo>
                        <a:lnTo>
                          <a:pt x="414" y="403"/>
                        </a:lnTo>
                        <a:lnTo>
                          <a:pt x="410" y="415"/>
                        </a:lnTo>
                        <a:lnTo>
                          <a:pt x="404" y="427"/>
                        </a:lnTo>
                        <a:lnTo>
                          <a:pt x="392" y="452"/>
                        </a:lnTo>
                        <a:lnTo>
                          <a:pt x="379" y="473"/>
                        </a:lnTo>
                        <a:lnTo>
                          <a:pt x="364" y="495"/>
                        </a:lnTo>
                        <a:lnTo>
                          <a:pt x="347" y="514"/>
                        </a:lnTo>
                        <a:lnTo>
                          <a:pt x="330" y="531"/>
                        </a:lnTo>
                        <a:lnTo>
                          <a:pt x="310" y="549"/>
                        </a:lnTo>
                        <a:lnTo>
                          <a:pt x="300" y="558"/>
                        </a:lnTo>
                        <a:lnTo>
                          <a:pt x="288" y="566"/>
                        </a:lnTo>
                        <a:lnTo>
                          <a:pt x="277" y="575"/>
                        </a:lnTo>
                        <a:lnTo>
                          <a:pt x="264" y="583"/>
                        </a:lnTo>
                        <a:lnTo>
                          <a:pt x="239" y="600"/>
                        </a:lnTo>
                        <a:lnTo>
                          <a:pt x="213" y="617"/>
                        </a:lnTo>
                        <a:lnTo>
                          <a:pt x="189" y="634"/>
                        </a:lnTo>
                        <a:lnTo>
                          <a:pt x="168" y="651"/>
                        </a:lnTo>
                        <a:lnTo>
                          <a:pt x="159" y="661"/>
                        </a:lnTo>
                        <a:lnTo>
                          <a:pt x="150" y="670"/>
                        </a:lnTo>
                        <a:lnTo>
                          <a:pt x="143" y="680"/>
                        </a:lnTo>
                        <a:lnTo>
                          <a:pt x="138" y="690"/>
                        </a:lnTo>
                        <a:lnTo>
                          <a:pt x="134" y="695"/>
                        </a:lnTo>
                        <a:lnTo>
                          <a:pt x="131" y="700"/>
                        </a:lnTo>
                        <a:lnTo>
                          <a:pt x="128" y="705"/>
                        </a:lnTo>
                        <a:lnTo>
                          <a:pt x="125" y="709"/>
                        </a:lnTo>
                        <a:lnTo>
                          <a:pt x="116" y="717"/>
                        </a:lnTo>
                        <a:lnTo>
                          <a:pt x="107" y="723"/>
                        </a:lnTo>
                        <a:lnTo>
                          <a:pt x="88" y="733"/>
                        </a:lnTo>
                        <a:lnTo>
                          <a:pt x="71" y="745"/>
                        </a:lnTo>
                        <a:lnTo>
                          <a:pt x="52" y="763"/>
                        </a:lnTo>
                        <a:lnTo>
                          <a:pt x="36" y="783"/>
                        </a:lnTo>
                        <a:lnTo>
                          <a:pt x="19" y="801"/>
                        </a:lnTo>
                        <a:lnTo>
                          <a:pt x="5" y="819"/>
                        </a:lnTo>
                        <a:lnTo>
                          <a:pt x="5" y="567"/>
                        </a:lnTo>
                        <a:lnTo>
                          <a:pt x="2" y="564"/>
                        </a:lnTo>
                        <a:lnTo>
                          <a:pt x="0" y="560"/>
                        </a:lnTo>
                        <a:lnTo>
                          <a:pt x="0" y="557"/>
                        </a:lnTo>
                        <a:lnTo>
                          <a:pt x="3" y="554"/>
                        </a:lnTo>
                        <a:lnTo>
                          <a:pt x="8" y="547"/>
                        </a:lnTo>
                        <a:lnTo>
                          <a:pt x="17" y="540"/>
                        </a:lnTo>
                        <a:lnTo>
                          <a:pt x="27" y="533"/>
                        </a:lnTo>
                        <a:lnTo>
                          <a:pt x="36" y="525"/>
                        </a:lnTo>
                        <a:lnTo>
                          <a:pt x="39" y="521"/>
                        </a:lnTo>
                        <a:lnTo>
                          <a:pt x="42" y="516"/>
                        </a:lnTo>
                        <a:lnTo>
                          <a:pt x="43" y="511"/>
                        </a:lnTo>
                        <a:lnTo>
                          <a:pt x="44" y="505"/>
                        </a:lnTo>
                        <a:lnTo>
                          <a:pt x="60" y="497"/>
                        </a:lnTo>
                        <a:lnTo>
                          <a:pt x="75" y="490"/>
                        </a:lnTo>
                        <a:lnTo>
                          <a:pt x="92" y="485"/>
                        </a:lnTo>
                        <a:lnTo>
                          <a:pt x="111" y="480"/>
                        </a:lnTo>
                        <a:lnTo>
                          <a:pt x="114" y="479"/>
                        </a:lnTo>
                        <a:lnTo>
                          <a:pt x="116" y="475"/>
                        </a:lnTo>
                        <a:lnTo>
                          <a:pt x="119" y="470"/>
                        </a:lnTo>
                        <a:lnTo>
                          <a:pt x="121" y="464"/>
                        </a:lnTo>
                        <a:lnTo>
                          <a:pt x="125" y="458"/>
                        </a:lnTo>
                        <a:lnTo>
                          <a:pt x="129" y="452"/>
                        </a:lnTo>
                        <a:lnTo>
                          <a:pt x="132" y="447"/>
                        </a:lnTo>
                        <a:lnTo>
                          <a:pt x="138" y="444"/>
                        </a:lnTo>
                        <a:lnTo>
                          <a:pt x="152" y="440"/>
                        </a:lnTo>
                        <a:lnTo>
                          <a:pt x="162" y="439"/>
                        </a:lnTo>
                        <a:lnTo>
                          <a:pt x="168" y="438"/>
                        </a:lnTo>
                        <a:lnTo>
                          <a:pt x="174" y="439"/>
                        </a:lnTo>
                        <a:lnTo>
                          <a:pt x="179" y="439"/>
                        </a:lnTo>
                        <a:lnTo>
                          <a:pt x="186" y="440"/>
                        </a:lnTo>
                        <a:lnTo>
                          <a:pt x="196" y="439"/>
                        </a:lnTo>
                        <a:lnTo>
                          <a:pt x="210" y="438"/>
                        </a:lnTo>
                        <a:lnTo>
                          <a:pt x="220" y="434"/>
                        </a:lnTo>
                        <a:lnTo>
                          <a:pt x="228" y="429"/>
                        </a:lnTo>
                        <a:lnTo>
                          <a:pt x="235" y="424"/>
                        </a:lnTo>
                        <a:lnTo>
                          <a:pt x="241" y="418"/>
                        </a:lnTo>
                        <a:lnTo>
                          <a:pt x="251" y="405"/>
                        </a:lnTo>
                        <a:lnTo>
                          <a:pt x="257" y="394"/>
                        </a:lnTo>
                        <a:lnTo>
                          <a:pt x="261" y="387"/>
                        </a:lnTo>
                        <a:lnTo>
                          <a:pt x="265" y="379"/>
                        </a:lnTo>
                        <a:lnTo>
                          <a:pt x="272" y="371"/>
                        </a:lnTo>
                        <a:lnTo>
                          <a:pt x="278" y="363"/>
                        </a:lnTo>
                        <a:lnTo>
                          <a:pt x="296" y="347"/>
                        </a:lnTo>
                        <a:lnTo>
                          <a:pt x="316" y="329"/>
                        </a:lnTo>
                        <a:lnTo>
                          <a:pt x="335" y="310"/>
                        </a:lnTo>
                        <a:lnTo>
                          <a:pt x="354" y="293"/>
                        </a:lnTo>
                        <a:lnTo>
                          <a:pt x="363" y="284"/>
                        </a:lnTo>
                        <a:lnTo>
                          <a:pt x="370" y="276"/>
                        </a:lnTo>
                        <a:lnTo>
                          <a:pt x="377" y="266"/>
                        </a:lnTo>
                        <a:lnTo>
                          <a:pt x="384" y="258"/>
                        </a:lnTo>
                        <a:lnTo>
                          <a:pt x="351" y="252"/>
                        </a:lnTo>
                        <a:lnTo>
                          <a:pt x="324" y="246"/>
                        </a:lnTo>
                        <a:lnTo>
                          <a:pt x="300" y="240"/>
                        </a:lnTo>
                        <a:lnTo>
                          <a:pt x="278" y="234"/>
                        </a:lnTo>
                        <a:lnTo>
                          <a:pt x="257" y="228"/>
                        </a:lnTo>
                        <a:lnTo>
                          <a:pt x="235" y="223"/>
                        </a:lnTo>
                        <a:lnTo>
                          <a:pt x="211" y="216"/>
                        </a:lnTo>
                        <a:lnTo>
                          <a:pt x="184" y="209"/>
                        </a:lnTo>
                        <a:lnTo>
                          <a:pt x="177" y="205"/>
                        </a:lnTo>
                        <a:lnTo>
                          <a:pt x="165" y="198"/>
                        </a:lnTo>
                        <a:lnTo>
                          <a:pt x="149" y="187"/>
                        </a:lnTo>
                        <a:lnTo>
                          <a:pt x="131" y="173"/>
                        </a:lnTo>
                        <a:lnTo>
                          <a:pt x="121" y="164"/>
                        </a:lnTo>
                        <a:lnTo>
                          <a:pt x="112" y="154"/>
                        </a:lnTo>
                        <a:lnTo>
                          <a:pt x="104" y="144"/>
                        </a:lnTo>
                        <a:lnTo>
                          <a:pt x="96" y="133"/>
                        </a:lnTo>
                        <a:lnTo>
                          <a:pt x="89" y="121"/>
                        </a:lnTo>
                        <a:lnTo>
                          <a:pt x="84" y="109"/>
                        </a:lnTo>
                        <a:lnTo>
                          <a:pt x="79" y="94"/>
                        </a:lnTo>
                        <a:lnTo>
                          <a:pt x="77" y="80"/>
                        </a:lnTo>
                        <a:lnTo>
                          <a:pt x="69" y="86"/>
                        </a:lnTo>
                        <a:lnTo>
                          <a:pt x="64" y="88"/>
                        </a:lnTo>
                        <a:lnTo>
                          <a:pt x="65" y="87"/>
                        </a:lnTo>
                        <a:lnTo>
                          <a:pt x="69" y="83"/>
                        </a:lnTo>
                        <a:lnTo>
                          <a:pt x="78" y="73"/>
                        </a:lnTo>
                        <a:lnTo>
                          <a:pt x="84" y="68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8" name="Freeform 357"/>
                  <p:cNvSpPr>
                    <a:spLocks/>
                  </p:cNvSpPr>
                  <p:nvPr>
                    <p:custDataLst>
                      <p:tags r:id="rId30"/>
                    </p:custDataLst>
                  </p:nvPr>
                </p:nvSpPr>
                <p:spPr bwMode="auto">
                  <a:xfrm>
                    <a:off x="6845893" y="2614247"/>
                    <a:ext cx="120071" cy="138268"/>
                  </a:xfrm>
                  <a:custGeom>
                    <a:avLst/>
                    <a:gdLst>
                      <a:gd name="T0" fmla="*/ 83014 w 86"/>
                      <a:gd name="T1" fmla="*/ 0 h 97"/>
                      <a:gd name="T2" fmla="*/ 78793 w 86"/>
                      <a:gd name="T3" fmla="*/ 2861 h 97"/>
                      <a:gd name="T4" fmla="*/ 73165 w 86"/>
                      <a:gd name="T5" fmla="*/ 4292 h 97"/>
                      <a:gd name="T6" fmla="*/ 64723 w 86"/>
                      <a:gd name="T7" fmla="*/ 4292 h 97"/>
                      <a:gd name="T8" fmla="*/ 56280 w 86"/>
                      <a:gd name="T9" fmla="*/ 4292 h 97"/>
                      <a:gd name="T10" fmla="*/ 46431 w 86"/>
                      <a:gd name="T11" fmla="*/ 4292 h 97"/>
                      <a:gd name="T12" fmla="*/ 37989 w 86"/>
                      <a:gd name="T13" fmla="*/ 4292 h 97"/>
                      <a:gd name="T14" fmla="*/ 32361 w 86"/>
                      <a:gd name="T15" fmla="*/ 5722 h 97"/>
                      <a:gd name="T16" fmla="*/ 28140 w 86"/>
                      <a:gd name="T17" fmla="*/ 8583 h 97"/>
                      <a:gd name="T18" fmla="*/ 22512 w 86"/>
                      <a:gd name="T19" fmla="*/ 12875 h 97"/>
                      <a:gd name="T20" fmla="*/ 18291 w 86"/>
                      <a:gd name="T21" fmla="*/ 17167 h 97"/>
                      <a:gd name="T22" fmla="*/ 15477 w 86"/>
                      <a:gd name="T23" fmla="*/ 21458 h 97"/>
                      <a:gd name="T24" fmla="*/ 11256 w 86"/>
                      <a:gd name="T25" fmla="*/ 28611 h 97"/>
                      <a:gd name="T26" fmla="*/ 5628 w 86"/>
                      <a:gd name="T27" fmla="*/ 41486 h 97"/>
                      <a:gd name="T28" fmla="*/ 2814 w 86"/>
                      <a:gd name="T29" fmla="*/ 54361 h 97"/>
                      <a:gd name="T30" fmla="*/ 0 w 86"/>
                      <a:gd name="T31" fmla="*/ 81542 h 97"/>
                      <a:gd name="T32" fmla="*/ 0 w 86"/>
                      <a:gd name="T33" fmla="*/ 107292 h 97"/>
                      <a:gd name="T34" fmla="*/ 0 w 86"/>
                      <a:gd name="T35" fmla="*/ 115875 h 97"/>
                      <a:gd name="T36" fmla="*/ 1407 w 86"/>
                      <a:gd name="T37" fmla="*/ 123028 h 97"/>
                      <a:gd name="T38" fmla="*/ 4221 w 86"/>
                      <a:gd name="T39" fmla="*/ 128750 h 97"/>
                      <a:gd name="T40" fmla="*/ 9849 w 86"/>
                      <a:gd name="T41" fmla="*/ 133042 h 97"/>
                      <a:gd name="T42" fmla="*/ 14070 w 86"/>
                      <a:gd name="T43" fmla="*/ 135903 h 97"/>
                      <a:gd name="T44" fmla="*/ 18291 w 86"/>
                      <a:gd name="T45" fmla="*/ 137333 h 97"/>
                      <a:gd name="T46" fmla="*/ 25326 w 86"/>
                      <a:gd name="T47" fmla="*/ 138764 h 97"/>
                      <a:gd name="T48" fmla="*/ 29547 w 86"/>
                      <a:gd name="T49" fmla="*/ 138764 h 97"/>
                      <a:gd name="T50" fmla="*/ 56280 w 86"/>
                      <a:gd name="T51" fmla="*/ 135903 h 97"/>
                      <a:gd name="T52" fmla="*/ 74572 w 86"/>
                      <a:gd name="T53" fmla="*/ 133042 h 97"/>
                      <a:gd name="T54" fmla="*/ 121003 w 86"/>
                      <a:gd name="T55" fmla="*/ 97278 h 97"/>
                      <a:gd name="T56" fmla="*/ 83014 w 86"/>
                      <a:gd name="T57" fmla="*/ 0 h 97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86"/>
                      <a:gd name="T88" fmla="*/ 0 h 97"/>
                      <a:gd name="T89" fmla="*/ 86 w 86"/>
                      <a:gd name="T90" fmla="*/ 97 h 97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86" h="97">
                        <a:moveTo>
                          <a:pt x="59" y="0"/>
                        </a:moveTo>
                        <a:lnTo>
                          <a:pt x="56" y="2"/>
                        </a:lnTo>
                        <a:lnTo>
                          <a:pt x="52" y="3"/>
                        </a:lnTo>
                        <a:lnTo>
                          <a:pt x="46" y="3"/>
                        </a:lnTo>
                        <a:lnTo>
                          <a:pt x="40" y="3"/>
                        </a:lnTo>
                        <a:lnTo>
                          <a:pt x="33" y="3"/>
                        </a:lnTo>
                        <a:lnTo>
                          <a:pt x="27" y="3"/>
                        </a:lnTo>
                        <a:lnTo>
                          <a:pt x="23" y="4"/>
                        </a:lnTo>
                        <a:lnTo>
                          <a:pt x="20" y="6"/>
                        </a:lnTo>
                        <a:lnTo>
                          <a:pt x="16" y="9"/>
                        </a:lnTo>
                        <a:lnTo>
                          <a:pt x="13" y="12"/>
                        </a:lnTo>
                        <a:lnTo>
                          <a:pt x="11" y="15"/>
                        </a:lnTo>
                        <a:lnTo>
                          <a:pt x="8" y="20"/>
                        </a:lnTo>
                        <a:lnTo>
                          <a:pt x="4" y="29"/>
                        </a:lnTo>
                        <a:lnTo>
                          <a:pt x="2" y="38"/>
                        </a:lnTo>
                        <a:lnTo>
                          <a:pt x="0" y="57"/>
                        </a:lnTo>
                        <a:lnTo>
                          <a:pt x="0" y="75"/>
                        </a:lnTo>
                        <a:lnTo>
                          <a:pt x="0" y="81"/>
                        </a:lnTo>
                        <a:lnTo>
                          <a:pt x="1" y="86"/>
                        </a:lnTo>
                        <a:lnTo>
                          <a:pt x="3" y="90"/>
                        </a:lnTo>
                        <a:lnTo>
                          <a:pt x="7" y="93"/>
                        </a:lnTo>
                        <a:lnTo>
                          <a:pt x="10" y="95"/>
                        </a:lnTo>
                        <a:lnTo>
                          <a:pt x="13" y="96"/>
                        </a:lnTo>
                        <a:lnTo>
                          <a:pt x="18" y="97"/>
                        </a:lnTo>
                        <a:lnTo>
                          <a:pt x="21" y="97"/>
                        </a:lnTo>
                        <a:lnTo>
                          <a:pt x="40" y="95"/>
                        </a:lnTo>
                        <a:lnTo>
                          <a:pt x="53" y="93"/>
                        </a:lnTo>
                        <a:lnTo>
                          <a:pt x="86" y="68"/>
                        </a:lnTo>
                        <a:lnTo>
                          <a:pt x="59" y="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79" name="Freeform 358"/>
                  <p:cNvSpPr>
                    <a:spLocks/>
                  </p:cNvSpPr>
                  <p:nvPr>
                    <p:custDataLst>
                      <p:tags r:id="rId31"/>
                    </p:custDataLst>
                  </p:nvPr>
                </p:nvSpPr>
                <p:spPr bwMode="auto">
                  <a:xfrm>
                    <a:off x="6206139" y="2404404"/>
                    <a:ext cx="1151930" cy="888171"/>
                  </a:xfrm>
                  <a:custGeom>
                    <a:avLst/>
                    <a:gdLst>
                      <a:gd name="T0" fmla="*/ 248677 w 845"/>
                      <a:gd name="T1" fmla="*/ 44442 h 720"/>
                      <a:gd name="T2" fmla="*/ 280103 w 845"/>
                      <a:gd name="T3" fmla="*/ 34566 h 720"/>
                      <a:gd name="T4" fmla="*/ 337490 w 845"/>
                      <a:gd name="T5" fmla="*/ 0 h 720"/>
                      <a:gd name="T6" fmla="*/ 373016 w 845"/>
                      <a:gd name="T7" fmla="*/ 14814 h 720"/>
                      <a:gd name="T8" fmla="*/ 446799 w 845"/>
                      <a:gd name="T9" fmla="*/ 45677 h 720"/>
                      <a:gd name="T10" fmla="*/ 519216 w 845"/>
                      <a:gd name="T11" fmla="*/ 82712 h 720"/>
                      <a:gd name="T12" fmla="*/ 582068 w 845"/>
                      <a:gd name="T13" fmla="*/ 120982 h 720"/>
                      <a:gd name="T14" fmla="*/ 603930 w 845"/>
                      <a:gd name="T15" fmla="*/ 154314 h 720"/>
                      <a:gd name="T16" fmla="*/ 605296 w 845"/>
                      <a:gd name="T17" fmla="*/ 172832 h 720"/>
                      <a:gd name="T18" fmla="*/ 625792 w 845"/>
                      <a:gd name="T19" fmla="*/ 181473 h 720"/>
                      <a:gd name="T20" fmla="*/ 681812 w 845"/>
                      <a:gd name="T21" fmla="*/ 219743 h 720"/>
                      <a:gd name="T22" fmla="*/ 691377 w 845"/>
                      <a:gd name="T23" fmla="*/ 212336 h 720"/>
                      <a:gd name="T24" fmla="*/ 666782 w 845"/>
                      <a:gd name="T25" fmla="*/ 227150 h 720"/>
                      <a:gd name="T26" fmla="*/ 657218 w 845"/>
                      <a:gd name="T27" fmla="*/ 249371 h 720"/>
                      <a:gd name="T28" fmla="*/ 657218 w 845"/>
                      <a:gd name="T29" fmla="*/ 311097 h 720"/>
                      <a:gd name="T30" fmla="*/ 673614 w 845"/>
                      <a:gd name="T31" fmla="*/ 325911 h 720"/>
                      <a:gd name="T32" fmla="*/ 718704 w 845"/>
                      <a:gd name="T33" fmla="*/ 327145 h 720"/>
                      <a:gd name="T34" fmla="*/ 744665 w 845"/>
                      <a:gd name="T35" fmla="*/ 393809 h 720"/>
                      <a:gd name="T36" fmla="*/ 796586 w 845"/>
                      <a:gd name="T37" fmla="*/ 445659 h 720"/>
                      <a:gd name="T38" fmla="*/ 881301 w 845"/>
                      <a:gd name="T39" fmla="*/ 493804 h 720"/>
                      <a:gd name="T40" fmla="*/ 1008372 w 845"/>
                      <a:gd name="T41" fmla="*/ 530840 h 720"/>
                      <a:gd name="T42" fmla="*/ 1154572 w 845"/>
                      <a:gd name="T43" fmla="*/ 554295 h 720"/>
                      <a:gd name="T44" fmla="*/ 1108116 w 845"/>
                      <a:gd name="T45" fmla="*/ 595034 h 720"/>
                      <a:gd name="T46" fmla="*/ 998807 w 845"/>
                      <a:gd name="T47" fmla="*/ 675278 h 720"/>
                      <a:gd name="T48" fmla="*/ 972847 w 845"/>
                      <a:gd name="T49" fmla="*/ 714782 h 720"/>
                      <a:gd name="T50" fmla="*/ 952351 w 845"/>
                      <a:gd name="T51" fmla="*/ 761693 h 720"/>
                      <a:gd name="T52" fmla="*/ 920925 w 845"/>
                      <a:gd name="T53" fmla="*/ 776508 h 720"/>
                      <a:gd name="T54" fmla="*/ 792487 w 845"/>
                      <a:gd name="T55" fmla="*/ 808605 h 720"/>
                      <a:gd name="T56" fmla="*/ 763794 w 845"/>
                      <a:gd name="T57" fmla="*/ 828357 h 720"/>
                      <a:gd name="T58" fmla="*/ 717338 w 845"/>
                      <a:gd name="T59" fmla="*/ 840702 h 720"/>
                      <a:gd name="T60" fmla="*/ 658584 w 845"/>
                      <a:gd name="T61" fmla="*/ 855516 h 720"/>
                      <a:gd name="T62" fmla="*/ 629891 w 845"/>
                      <a:gd name="T63" fmla="*/ 839468 h 720"/>
                      <a:gd name="T64" fmla="*/ 583435 w 845"/>
                      <a:gd name="T65" fmla="*/ 838233 h 720"/>
                      <a:gd name="T66" fmla="*/ 553375 w 845"/>
                      <a:gd name="T67" fmla="*/ 862923 h 720"/>
                      <a:gd name="T68" fmla="*/ 532879 w 845"/>
                      <a:gd name="T69" fmla="*/ 881441 h 720"/>
                      <a:gd name="T70" fmla="*/ 491889 w 845"/>
                      <a:gd name="T71" fmla="*/ 888848 h 720"/>
                      <a:gd name="T72" fmla="*/ 434502 w 845"/>
                      <a:gd name="T73" fmla="*/ 881441 h 720"/>
                      <a:gd name="T74" fmla="*/ 394877 w 845"/>
                      <a:gd name="T75" fmla="*/ 861689 h 720"/>
                      <a:gd name="T76" fmla="*/ 336124 w 845"/>
                      <a:gd name="T77" fmla="*/ 828357 h 720"/>
                      <a:gd name="T78" fmla="*/ 247311 w 845"/>
                      <a:gd name="T79" fmla="*/ 816012 h 720"/>
                      <a:gd name="T80" fmla="*/ 191290 w 845"/>
                      <a:gd name="T81" fmla="*/ 806136 h 720"/>
                      <a:gd name="T82" fmla="*/ 206320 w 845"/>
                      <a:gd name="T83" fmla="*/ 757990 h 720"/>
                      <a:gd name="T84" fmla="*/ 173527 w 845"/>
                      <a:gd name="T85" fmla="*/ 735769 h 720"/>
                      <a:gd name="T86" fmla="*/ 147567 w 845"/>
                      <a:gd name="T87" fmla="*/ 719720 h 720"/>
                      <a:gd name="T88" fmla="*/ 127071 w 845"/>
                      <a:gd name="T89" fmla="*/ 680216 h 720"/>
                      <a:gd name="T90" fmla="*/ 105210 w 845"/>
                      <a:gd name="T91" fmla="*/ 630835 h 720"/>
                      <a:gd name="T92" fmla="*/ 66952 w 845"/>
                      <a:gd name="T93" fmla="*/ 603676 h 720"/>
                      <a:gd name="T94" fmla="*/ 21862 w 845"/>
                      <a:gd name="T95" fmla="*/ 588862 h 720"/>
                      <a:gd name="T96" fmla="*/ 6832 w 845"/>
                      <a:gd name="T97" fmla="*/ 582689 h 720"/>
                      <a:gd name="T98" fmla="*/ 2733 w 845"/>
                      <a:gd name="T99" fmla="*/ 553061 h 720"/>
                      <a:gd name="T100" fmla="*/ 28694 w 845"/>
                      <a:gd name="T101" fmla="*/ 520964 h 720"/>
                      <a:gd name="T102" fmla="*/ 75150 w 845"/>
                      <a:gd name="T103" fmla="*/ 509853 h 720"/>
                      <a:gd name="T104" fmla="*/ 91546 w 845"/>
                      <a:gd name="T105" fmla="*/ 396278 h 720"/>
                      <a:gd name="T106" fmla="*/ 112041 w 845"/>
                      <a:gd name="T107" fmla="*/ 339491 h 720"/>
                      <a:gd name="T108" fmla="*/ 129804 w 845"/>
                      <a:gd name="T109" fmla="*/ 320973 h 720"/>
                      <a:gd name="T110" fmla="*/ 140735 w 845"/>
                      <a:gd name="T111" fmla="*/ 291345 h 720"/>
                      <a:gd name="T112" fmla="*/ 158497 w 845"/>
                      <a:gd name="T113" fmla="*/ 254309 h 720"/>
                      <a:gd name="T114" fmla="*/ 202221 w 845"/>
                      <a:gd name="T115" fmla="*/ 219743 h 720"/>
                      <a:gd name="T116" fmla="*/ 228182 w 845"/>
                      <a:gd name="T117" fmla="*/ 197522 h 7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845"/>
                      <a:gd name="T178" fmla="*/ 0 h 720"/>
                      <a:gd name="T179" fmla="*/ 845 w 845"/>
                      <a:gd name="T180" fmla="*/ 720 h 7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845" h="720">
                        <a:moveTo>
                          <a:pt x="174" y="25"/>
                        </a:moveTo>
                        <a:lnTo>
                          <a:pt x="175" y="27"/>
                        </a:lnTo>
                        <a:lnTo>
                          <a:pt x="179" y="33"/>
                        </a:lnTo>
                        <a:lnTo>
                          <a:pt x="182" y="36"/>
                        </a:lnTo>
                        <a:lnTo>
                          <a:pt x="185" y="38"/>
                        </a:lnTo>
                        <a:lnTo>
                          <a:pt x="189" y="38"/>
                        </a:lnTo>
                        <a:lnTo>
                          <a:pt x="194" y="37"/>
                        </a:lnTo>
                        <a:lnTo>
                          <a:pt x="205" y="28"/>
                        </a:lnTo>
                        <a:lnTo>
                          <a:pt x="218" y="19"/>
                        </a:lnTo>
                        <a:lnTo>
                          <a:pt x="229" y="14"/>
                        </a:lnTo>
                        <a:lnTo>
                          <a:pt x="234" y="12"/>
                        </a:lnTo>
                        <a:lnTo>
                          <a:pt x="247" y="0"/>
                        </a:lnTo>
                        <a:lnTo>
                          <a:pt x="250" y="1"/>
                        </a:lnTo>
                        <a:lnTo>
                          <a:pt x="258" y="6"/>
                        </a:lnTo>
                        <a:lnTo>
                          <a:pt x="267" y="10"/>
                        </a:lnTo>
                        <a:lnTo>
                          <a:pt x="273" y="12"/>
                        </a:lnTo>
                        <a:lnTo>
                          <a:pt x="284" y="15"/>
                        </a:lnTo>
                        <a:lnTo>
                          <a:pt x="300" y="21"/>
                        </a:lnTo>
                        <a:lnTo>
                          <a:pt x="316" y="31"/>
                        </a:lnTo>
                        <a:lnTo>
                          <a:pt x="327" y="37"/>
                        </a:lnTo>
                        <a:lnTo>
                          <a:pt x="337" y="41"/>
                        </a:lnTo>
                        <a:lnTo>
                          <a:pt x="353" y="50"/>
                        </a:lnTo>
                        <a:lnTo>
                          <a:pt x="370" y="60"/>
                        </a:lnTo>
                        <a:lnTo>
                          <a:pt x="380" y="67"/>
                        </a:lnTo>
                        <a:lnTo>
                          <a:pt x="393" y="76"/>
                        </a:lnTo>
                        <a:lnTo>
                          <a:pt x="406" y="86"/>
                        </a:lnTo>
                        <a:lnTo>
                          <a:pt x="419" y="95"/>
                        </a:lnTo>
                        <a:lnTo>
                          <a:pt x="426" y="98"/>
                        </a:lnTo>
                        <a:lnTo>
                          <a:pt x="430" y="105"/>
                        </a:lnTo>
                        <a:lnTo>
                          <a:pt x="440" y="116"/>
                        </a:lnTo>
                        <a:lnTo>
                          <a:pt x="441" y="121"/>
                        </a:lnTo>
                        <a:lnTo>
                          <a:pt x="442" y="125"/>
                        </a:lnTo>
                        <a:lnTo>
                          <a:pt x="443" y="130"/>
                        </a:lnTo>
                        <a:lnTo>
                          <a:pt x="443" y="134"/>
                        </a:lnTo>
                        <a:lnTo>
                          <a:pt x="443" y="137"/>
                        </a:lnTo>
                        <a:lnTo>
                          <a:pt x="443" y="140"/>
                        </a:lnTo>
                        <a:lnTo>
                          <a:pt x="444" y="141"/>
                        </a:lnTo>
                        <a:lnTo>
                          <a:pt x="447" y="142"/>
                        </a:lnTo>
                        <a:lnTo>
                          <a:pt x="450" y="143"/>
                        </a:lnTo>
                        <a:lnTo>
                          <a:pt x="458" y="147"/>
                        </a:lnTo>
                        <a:lnTo>
                          <a:pt x="466" y="153"/>
                        </a:lnTo>
                        <a:lnTo>
                          <a:pt x="475" y="160"/>
                        </a:lnTo>
                        <a:lnTo>
                          <a:pt x="492" y="172"/>
                        </a:lnTo>
                        <a:lnTo>
                          <a:pt x="499" y="178"/>
                        </a:lnTo>
                        <a:lnTo>
                          <a:pt x="500" y="175"/>
                        </a:lnTo>
                        <a:lnTo>
                          <a:pt x="503" y="173"/>
                        </a:lnTo>
                        <a:lnTo>
                          <a:pt x="505" y="172"/>
                        </a:lnTo>
                        <a:lnTo>
                          <a:pt x="506" y="172"/>
                        </a:lnTo>
                        <a:lnTo>
                          <a:pt x="500" y="174"/>
                        </a:lnTo>
                        <a:lnTo>
                          <a:pt x="495" y="177"/>
                        </a:lnTo>
                        <a:lnTo>
                          <a:pt x="492" y="181"/>
                        </a:lnTo>
                        <a:lnTo>
                          <a:pt x="488" y="184"/>
                        </a:lnTo>
                        <a:lnTo>
                          <a:pt x="485" y="189"/>
                        </a:lnTo>
                        <a:lnTo>
                          <a:pt x="483" y="193"/>
                        </a:lnTo>
                        <a:lnTo>
                          <a:pt x="482" y="197"/>
                        </a:lnTo>
                        <a:lnTo>
                          <a:pt x="481" y="202"/>
                        </a:lnTo>
                        <a:lnTo>
                          <a:pt x="478" y="221"/>
                        </a:lnTo>
                        <a:lnTo>
                          <a:pt x="480" y="240"/>
                        </a:lnTo>
                        <a:lnTo>
                          <a:pt x="480" y="247"/>
                        </a:lnTo>
                        <a:lnTo>
                          <a:pt x="481" y="252"/>
                        </a:lnTo>
                        <a:lnTo>
                          <a:pt x="483" y="256"/>
                        </a:lnTo>
                        <a:lnTo>
                          <a:pt x="486" y="260"/>
                        </a:lnTo>
                        <a:lnTo>
                          <a:pt x="488" y="262"/>
                        </a:lnTo>
                        <a:lnTo>
                          <a:pt x="493" y="264"/>
                        </a:lnTo>
                        <a:lnTo>
                          <a:pt x="496" y="265"/>
                        </a:lnTo>
                        <a:lnTo>
                          <a:pt x="500" y="266"/>
                        </a:lnTo>
                        <a:lnTo>
                          <a:pt x="516" y="266"/>
                        </a:lnTo>
                        <a:lnTo>
                          <a:pt x="526" y="265"/>
                        </a:lnTo>
                        <a:lnTo>
                          <a:pt x="528" y="279"/>
                        </a:lnTo>
                        <a:lnTo>
                          <a:pt x="532" y="293"/>
                        </a:lnTo>
                        <a:lnTo>
                          <a:pt x="538" y="307"/>
                        </a:lnTo>
                        <a:lnTo>
                          <a:pt x="545" y="319"/>
                        </a:lnTo>
                        <a:lnTo>
                          <a:pt x="554" y="330"/>
                        </a:lnTo>
                        <a:lnTo>
                          <a:pt x="563" y="341"/>
                        </a:lnTo>
                        <a:lnTo>
                          <a:pt x="573" y="351"/>
                        </a:lnTo>
                        <a:lnTo>
                          <a:pt x="583" y="361"/>
                        </a:lnTo>
                        <a:lnTo>
                          <a:pt x="604" y="376"/>
                        </a:lnTo>
                        <a:lnTo>
                          <a:pt x="622" y="388"/>
                        </a:lnTo>
                        <a:lnTo>
                          <a:pt x="637" y="396"/>
                        </a:lnTo>
                        <a:lnTo>
                          <a:pt x="645" y="400"/>
                        </a:lnTo>
                        <a:lnTo>
                          <a:pt x="673" y="408"/>
                        </a:lnTo>
                        <a:lnTo>
                          <a:pt x="696" y="417"/>
                        </a:lnTo>
                        <a:lnTo>
                          <a:pt x="718" y="424"/>
                        </a:lnTo>
                        <a:lnTo>
                          <a:pt x="738" y="430"/>
                        </a:lnTo>
                        <a:lnTo>
                          <a:pt x="758" y="435"/>
                        </a:lnTo>
                        <a:lnTo>
                          <a:pt x="783" y="440"/>
                        </a:lnTo>
                        <a:lnTo>
                          <a:pt x="811" y="445"/>
                        </a:lnTo>
                        <a:lnTo>
                          <a:pt x="845" y="449"/>
                        </a:lnTo>
                        <a:lnTo>
                          <a:pt x="838" y="457"/>
                        </a:lnTo>
                        <a:lnTo>
                          <a:pt x="830" y="465"/>
                        </a:lnTo>
                        <a:lnTo>
                          <a:pt x="821" y="474"/>
                        </a:lnTo>
                        <a:lnTo>
                          <a:pt x="811" y="482"/>
                        </a:lnTo>
                        <a:lnTo>
                          <a:pt x="790" y="498"/>
                        </a:lnTo>
                        <a:lnTo>
                          <a:pt x="768" y="514"/>
                        </a:lnTo>
                        <a:lnTo>
                          <a:pt x="749" y="531"/>
                        </a:lnTo>
                        <a:lnTo>
                          <a:pt x="731" y="547"/>
                        </a:lnTo>
                        <a:lnTo>
                          <a:pt x="723" y="555"/>
                        </a:lnTo>
                        <a:lnTo>
                          <a:pt x="718" y="562"/>
                        </a:lnTo>
                        <a:lnTo>
                          <a:pt x="715" y="570"/>
                        </a:lnTo>
                        <a:lnTo>
                          <a:pt x="712" y="579"/>
                        </a:lnTo>
                        <a:lnTo>
                          <a:pt x="709" y="592"/>
                        </a:lnTo>
                        <a:lnTo>
                          <a:pt x="706" y="602"/>
                        </a:lnTo>
                        <a:lnTo>
                          <a:pt x="701" y="610"/>
                        </a:lnTo>
                        <a:lnTo>
                          <a:pt x="697" y="617"/>
                        </a:lnTo>
                        <a:lnTo>
                          <a:pt x="693" y="622"/>
                        </a:lnTo>
                        <a:lnTo>
                          <a:pt x="686" y="625"/>
                        </a:lnTo>
                        <a:lnTo>
                          <a:pt x="681" y="628"/>
                        </a:lnTo>
                        <a:lnTo>
                          <a:pt x="674" y="629"/>
                        </a:lnTo>
                        <a:lnTo>
                          <a:pt x="643" y="630"/>
                        </a:lnTo>
                        <a:lnTo>
                          <a:pt x="606" y="635"/>
                        </a:lnTo>
                        <a:lnTo>
                          <a:pt x="594" y="643"/>
                        </a:lnTo>
                        <a:lnTo>
                          <a:pt x="580" y="655"/>
                        </a:lnTo>
                        <a:lnTo>
                          <a:pt x="573" y="661"/>
                        </a:lnTo>
                        <a:lnTo>
                          <a:pt x="567" y="666"/>
                        </a:lnTo>
                        <a:lnTo>
                          <a:pt x="563" y="670"/>
                        </a:lnTo>
                        <a:lnTo>
                          <a:pt x="559" y="671"/>
                        </a:lnTo>
                        <a:lnTo>
                          <a:pt x="548" y="673"/>
                        </a:lnTo>
                        <a:lnTo>
                          <a:pt x="539" y="676"/>
                        </a:lnTo>
                        <a:lnTo>
                          <a:pt x="531" y="678"/>
                        </a:lnTo>
                        <a:lnTo>
                          <a:pt x="525" y="681"/>
                        </a:lnTo>
                        <a:lnTo>
                          <a:pt x="513" y="687"/>
                        </a:lnTo>
                        <a:lnTo>
                          <a:pt x="499" y="696"/>
                        </a:lnTo>
                        <a:lnTo>
                          <a:pt x="488" y="696"/>
                        </a:lnTo>
                        <a:lnTo>
                          <a:pt x="482" y="693"/>
                        </a:lnTo>
                        <a:lnTo>
                          <a:pt x="476" y="691"/>
                        </a:lnTo>
                        <a:lnTo>
                          <a:pt x="472" y="686"/>
                        </a:lnTo>
                        <a:lnTo>
                          <a:pt x="468" y="683"/>
                        </a:lnTo>
                        <a:lnTo>
                          <a:pt x="461" y="680"/>
                        </a:lnTo>
                        <a:lnTo>
                          <a:pt x="452" y="678"/>
                        </a:lnTo>
                        <a:lnTo>
                          <a:pt x="440" y="677"/>
                        </a:lnTo>
                        <a:lnTo>
                          <a:pt x="432" y="678"/>
                        </a:lnTo>
                        <a:lnTo>
                          <a:pt x="427" y="679"/>
                        </a:lnTo>
                        <a:lnTo>
                          <a:pt x="421" y="681"/>
                        </a:lnTo>
                        <a:lnTo>
                          <a:pt x="418" y="684"/>
                        </a:lnTo>
                        <a:lnTo>
                          <a:pt x="410" y="692"/>
                        </a:lnTo>
                        <a:lnTo>
                          <a:pt x="405" y="699"/>
                        </a:lnTo>
                        <a:lnTo>
                          <a:pt x="402" y="703"/>
                        </a:lnTo>
                        <a:lnTo>
                          <a:pt x="398" y="707"/>
                        </a:lnTo>
                        <a:lnTo>
                          <a:pt x="394" y="711"/>
                        </a:lnTo>
                        <a:lnTo>
                          <a:pt x="390" y="714"/>
                        </a:lnTo>
                        <a:lnTo>
                          <a:pt x="383" y="717"/>
                        </a:lnTo>
                        <a:lnTo>
                          <a:pt x="376" y="719"/>
                        </a:lnTo>
                        <a:lnTo>
                          <a:pt x="369" y="720"/>
                        </a:lnTo>
                        <a:lnTo>
                          <a:pt x="360" y="720"/>
                        </a:lnTo>
                        <a:lnTo>
                          <a:pt x="348" y="720"/>
                        </a:lnTo>
                        <a:lnTo>
                          <a:pt x="337" y="719"/>
                        </a:lnTo>
                        <a:lnTo>
                          <a:pt x="327" y="717"/>
                        </a:lnTo>
                        <a:lnTo>
                          <a:pt x="318" y="714"/>
                        </a:lnTo>
                        <a:lnTo>
                          <a:pt x="310" y="710"/>
                        </a:lnTo>
                        <a:lnTo>
                          <a:pt x="303" y="706"/>
                        </a:lnTo>
                        <a:lnTo>
                          <a:pt x="295" y="702"/>
                        </a:lnTo>
                        <a:lnTo>
                          <a:pt x="289" y="698"/>
                        </a:lnTo>
                        <a:lnTo>
                          <a:pt x="275" y="688"/>
                        </a:lnTo>
                        <a:lnTo>
                          <a:pt x="261" y="679"/>
                        </a:lnTo>
                        <a:lnTo>
                          <a:pt x="253" y="675"/>
                        </a:lnTo>
                        <a:lnTo>
                          <a:pt x="246" y="671"/>
                        </a:lnTo>
                        <a:lnTo>
                          <a:pt x="237" y="668"/>
                        </a:lnTo>
                        <a:lnTo>
                          <a:pt x="227" y="665"/>
                        </a:lnTo>
                        <a:lnTo>
                          <a:pt x="205" y="662"/>
                        </a:lnTo>
                        <a:lnTo>
                          <a:pt x="181" y="661"/>
                        </a:lnTo>
                        <a:lnTo>
                          <a:pt x="170" y="660"/>
                        </a:lnTo>
                        <a:lnTo>
                          <a:pt x="159" y="659"/>
                        </a:lnTo>
                        <a:lnTo>
                          <a:pt x="149" y="657"/>
                        </a:lnTo>
                        <a:lnTo>
                          <a:pt x="140" y="653"/>
                        </a:lnTo>
                        <a:lnTo>
                          <a:pt x="149" y="632"/>
                        </a:lnTo>
                        <a:lnTo>
                          <a:pt x="153" y="622"/>
                        </a:lnTo>
                        <a:lnTo>
                          <a:pt x="152" y="618"/>
                        </a:lnTo>
                        <a:lnTo>
                          <a:pt x="151" y="614"/>
                        </a:lnTo>
                        <a:lnTo>
                          <a:pt x="147" y="607"/>
                        </a:lnTo>
                        <a:lnTo>
                          <a:pt x="140" y="597"/>
                        </a:lnTo>
                        <a:lnTo>
                          <a:pt x="134" y="597"/>
                        </a:lnTo>
                        <a:lnTo>
                          <a:pt x="127" y="596"/>
                        </a:lnTo>
                        <a:lnTo>
                          <a:pt x="122" y="593"/>
                        </a:lnTo>
                        <a:lnTo>
                          <a:pt x="116" y="590"/>
                        </a:lnTo>
                        <a:lnTo>
                          <a:pt x="112" y="587"/>
                        </a:lnTo>
                        <a:lnTo>
                          <a:pt x="108" y="583"/>
                        </a:lnTo>
                        <a:lnTo>
                          <a:pt x="104" y="577"/>
                        </a:lnTo>
                        <a:lnTo>
                          <a:pt x="102" y="572"/>
                        </a:lnTo>
                        <a:lnTo>
                          <a:pt x="96" y="562"/>
                        </a:lnTo>
                        <a:lnTo>
                          <a:pt x="93" y="551"/>
                        </a:lnTo>
                        <a:lnTo>
                          <a:pt x="90" y="540"/>
                        </a:lnTo>
                        <a:lnTo>
                          <a:pt x="88" y="530"/>
                        </a:lnTo>
                        <a:lnTo>
                          <a:pt x="82" y="519"/>
                        </a:lnTo>
                        <a:lnTo>
                          <a:pt x="77" y="511"/>
                        </a:lnTo>
                        <a:lnTo>
                          <a:pt x="70" y="505"/>
                        </a:lnTo>
                        <a:lnTo>
                          <a:pt x="63" y="499"/>
                        </a:lnTo>
                        <a:lnTo>
                          <a:pt x="57" y="494"/>
                        </a:lnTo>
                        <a:lnTo>
                          <a:pt x="49" y="489"/>
                        </a:lnTo>
                        <a:lnTo>
                          <a:pt x="41" y="483"/>
                        </a:lnTo>
                        <a:lnTo>
                          <a:pt x="34" y="474"/>
                        </a:lnTo>
                        <a:lnTo>
                          <a:pt x="24" y="477"/>
                        </a:lnTo>
                        <a:lnTo>
                          <a:pt x="16" y="477"/>
                        </a:lnTo>
                        <a:lnTo>
                          <a:pt x="12" y="476"/>
                        </a:lnTo>
                        <a:lnTo>
                          <a:pt x="10" y="475"/>
                        </a:lnTo>
                        <a:lnTo>
                          <a:pt x="6" y="474"/>
                        </a:lnTo>
                        <a:lnTo>
                          <a:pt x="5" y="472"/>
                        </a:lnTo>
                        <a:lnTo>
                          <a:pt x="2" y="467"/>
                        </a:lnTo>
                        <a:lnTo>
                          <a:pt x="0" y="461"/>
                        </a:lnTo>
                        <a:lnTo>
                          <a:pt x="1" y="454"/>
                        </a:lnTo>
                        <a:lnTo>
                          <a:pt x="2" y="448"/>
                        </a:lnTo>
                        <a:lnTo>
                          <a:pt x="5" y="441"/>
                        </a:lnTo>
                        <a:lnTo>
                          <a:pt x="9" y="434"/>
                        </a:lnTo>
                        <a:lnTo>
                          <a:pt x="14" y="428"/>
                        </a:lnTo>
                        <a:lnTo>
                          <a:pt x="21" y="422"/>
                        </a:lnTo>
                        <a:lnTo>
                          <a:pt x="27" y="418"/>
                        </a:lnTo>
                        <a:lnTo>
                          <a:pt x="36" y="415"/>
                        </a:lnTo>
                        <a:lnTo>
                          <a:pt x="45" y="413"/>
                        </a:lnTo>
                        <a:lnTo>
                          <a:pt x="55" y="413"/>
                        </a:lnTo>
                        <a:lnTo>
                          <a:pt x="57" y="384"/>
                        </a:lnTo>
                        <a:lnTo>
                          <a:pt x="60" y="360"/>
                        </a:lnTo>
                        <a:lnTo>
                          <a:pt x="63" y="339"/>
                        </a:lnTo>
                        <a:lnTo>
                          <a:pt x="67" y="321"/>
                        </a:lnTo>
                        <a:lnTo>
                          <a:pt x="71" y="306"/>
                        </a:lnTo>
                        <a:lnTo>
                          <a:pt x="74" y="293"/>
                        </a:lnTo>
                        <a:lnTo>
                          <a:pt x="79" y="283"/>
                        </a:lnTo>
                        <a:lnTo>
                          <a:pt x="82" y="275"/>
                        </a:lnTo>
                        <a:lnTo>
                          <a:pt x="87" y="269"/>
                        </a:lnTo>
                        <a:lnTo>
                          <a:pt x="90" y="265"/>
                        </a:lnTo>
                        <a:lnTo>
                          <a:pt x="93" y="262"/>
                        </a:lnTo>
                        <a:lnTo>
                          <a:pt x="95" y="260"/>
                        </a:lnTo>
                        <a:lnTo>
                          <a:pt x="100" y="259"/>
                        </a:lnTo>
                        <a:lnTo>
                          <a:pt x="101" y="259"/>
                        </a:lnTo>
                        <a:lnTo>
                          <a:pt x="101" y="247"/>
                        </a:lnTo>
                        <a:lnTo>
                          <a:pt x="103" y="236"/>
                        </a:lnTo>
                        <a:lnTo>
                          <a:pt x="105" y="227"/>
                        </a:lnTo>
                        <a:lnTo>
                          <a:pt x="108" y="219"/>
                        </a:lnTo>
                        <a:lnTo>
                          <a:pt x="112" y="212"/>
                        </a:lnTo>
                        <a:lnTo>
                          <a:pt x="116" y="206"/>
                        </a:lnTo>
                        <a:lnTo>
                          <a:pt x="122" y="200"/>
                        </a:lnTo>
                        <a:lnTo>
                          <a:pt x="126" y="196"/>
                        </a:lnTo>
                        <a:lnTo>
                          <a:pt x="137" y="186"/>
                        </a:lnTo>
                        <a:lnTo>
                          <a:pt x="148" y="178"/>
                        </a:lnTo>
                        <a:lnTo>
                          <a:pt x="153" y="174"/>
                        </a:lnTo>
                        <a:lnTo>
                          <a:pt x="159" y="170"/>
                        </a:lnTo>
                        <a:lnTo>
                          <a:pt x="163" y="165"/>
                        </a:lnTo>
                        <a:lnTo>
                          <a:pt x="167" y="160"/>
                        </a:lnTo>
                        <a:lnTo>
                          <a:pt x="174" y="25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0" name="Freeform 380"/>
                  <p:cNvSpPr>
                    <a:spLocks/>
                  </p:cNvSpPr>
                  <p:nvPr>
                    <p:custDataLst>
                      <p:tags r:id="rId32"/>
                    </p:custDataLst>
                  </p:nvPr>
                </p:nvSpPr>
                <p:spPr bwMode="auto">
                  <a:xfrm>
                    <a:off x="4455731" y="4005064"/>
                    <a:ext cx="1013098" cy="896305"/>
                  </a:xfrm>
                  <a:custGeom>
                    <a:avLst/>
                    <a:gdLst>
                      <a:gd name="T0" fmla="*/ 82614 w 736"/>
                      <a:gd name="T1" fmla="*/ 851596 h 721"/>
                      <a:gd name="T2" fmla="*/ 125298 w 736"/>
                      <a:gd name="T3" fmla="*/ 830461 h 721"/>
                      <a:gd name="T4" fmla="*/ 173489 w 736"/>
                      <a:gd name="T5" fmla="*/ 830461 h 721"/>
                      <a:gd name="T6" fmla="*/ 269872 w 736"/>
                      <a:gd name="T7" fmla="*/ 860298 h 721"/>
                      <a:gd name="T8" fmla="*/ 337340 w 736"/>
                      <a:gd name="T9" fmla="*/ 876460 h 721"/>
                      <a:gd name="T10" fmla="*/ 402055 w 736"/>
                      <a:gd name="T11" fmla="*/ 873973 h 721"/>
                      <a:gd name="T12" fmla="*/ 841286 w 736"/>
                      <a:gd name="T13" fmla="*/ 891378 h 721"/>
                      <a:gd name="T14" fmla="*/ 896362 w 736"/>
                      <a:gd name="T15" fmla="*/ 878946 h 721"/>
                      <a:gd name="T16" fmla="*/ 863316 w 736"/>
                      <a:gd name="T17" fmla="*/ 816786 h 721"/>
                      <a:gd name="T18" fmla="*/ 914261 w 736"/>
                      <a:gd name="T19" fmla="*/ 538308 h 721"/>
                      <a:gd name="T20" fmla="*/ 976222 w 736"/>
                      <a:gd name="T21" fmla="*/ 533335 h 721"/>
                      <a:gd name="T22" fmla="*/ 995498 w 736"/>
                      <a:gd name="T23" fmla="*/ 517173 h 721"/>
                      <a:gd name="T24" fmla="*/ 1010644 w 736"/>
                      <a:gd name="T25" fmla="*/ 447554 h 721"/>
                      <a:gd name="T26" fmla="*/ 994121 w 736"/>
                      <a:gd name="T27" fmla="*/ 375448 h 721"/>
                      <a:gd name="T28" fmla="*/ 974845 w 736"/>
                      <a:gd name="T29" fmla="*/ 377934 h 721"/>
                      <a:gd name="T30" fmla="*/ 930784 w 736"/>
                      <a:gd name="T31" fmla="*/ 372962 h 721"/>
                      <a:gd name="T32" fmla="*/ 872954 w 736"/>
                      <a:gd name="T33" fmla="*/ 371718 h 721"/>
                      <a:gd name="T34" fmla="*/ 857808 w 736"/>
                      <a:gd name="T35" fmla="*/ 360530 h 721"/>
                      <a:gd name="T36" fmla="*/ 849547 w 736"/>
                      <a:gd name="T37" fmla="*/ 314531 h 721"/>
                      <a:gd name="T38" fmla="*/ 835778 w 736"/>
                      <a:gd name="T39" fmla="*/ 272262 h 721"/>
                      <a:gd name="T40" fmla="*/ 822009 w 736"/>
                      <a:gd name="T41" fmla="*/ 231236 h 721"/>
                      <a:gd name="T42" fmla="*/ 835778 w 736"/>
                      <a:gd name="T43" fmla="*/ 207615 h 721"/>
                      <a:gd name="T44" fmla="*/ 849547 w 736"/>
                      <a:gd name="T45" fmla="*/ 183994 h 721"/>
                      <a:gd name="T46" fmla="*/ 841286 w 736"/>
                      <a:gd name="T47" fmla="*/ 124321 h 721"/>
                      <a:gd name="T48" fmla="*/ 749033 w 736"/>
                      <a:gd name="T49" fmla="*/ 87024 h 721"/>
                      <a:gd name="T50" fmla="*/ 656781 w 736"/>
                      <a:gd name="T51" fmla="*/ 82052 h 721"/>
                      <a:gd name="T52" fmla="*/ 648520 w 736"/>
                      <a:gd name="T53" fmla="*/ 100700 h 721"/>
                      <a:gd name="T54" fmla="*/ 637504 w 736"/>
                      <a:gd name="T55" fmla="*/ 125564 h 721"/>
                      <a:gd name="T56" fmla="*/ 605836 w 736"/>
                      <a:gd name="T57" fmla="*/ 151671 h 721"/>
                      <a:gd name="T58" fmla="*/ 539745 w 736"/>
                      <a:gd name="T59" fmla="*/ 161617 h 721"/>
                      <a:gd name="T60" fmla="*/ 501191 w 736"/>
                      <a:gd name="T61" fmla="*/ 142969 h 721"/>
                      <a:gd name="T62" fmla="*/ 466769 w 736"/>
                      <a:gd name="T63" fmla="*/ 101943 h 721"/>
                      <a:gd name="T64" fmla="*/ 439231 w 736"/>
                      <a:gd name="T65" fmla="*/ 48485 h 721"/>
                      <a:gd name="T66" fmla="*/ 429593 w 736"/>
                      <a:gd name="T67" fmla="*/ 0 h 721"/>
                      <a:gd name="T68" fmla="*/ 41307 w 736"/>
                      <a:gd name="T69" fmla="*/ 18648 h 721"/>
                      <a:gd name="T70" fmla="*/ 64714 w 736"/>
                      <a:gd name="T71" fmla="*/ 36053 h 721"/>
                      <a:gd name="T72" fmla="*/ 103267 w 736"/>
                      <a:gd name="T73" fmla="*/ 93240 h 721"/>
                      <a:gd name="T74" fmla="*/ 140444 w 736"/>
                      <a:gd name="T75" fmla="*/ 161617 h 721"/>
                      <a:gd name="T76" fmla="*/ 141821 w 736"/>
                      <a:gd name="T77" fmla="*/ 212588 h 721"/>
                      <a:gd name="T78" fmla="*/ 128052 w 736"/>
                      <a:gd name="T79" fmla="*/ 252371 h 721"/>
                      <a:gd name="T80" fmla="*/ 132182 w 736"/>
                      <a:gd name="T81" fmla="*/ 284694 h 721"/>
                      <a:gd name="T82" fmla="*/ 163851 w 736"/>
                      <a:gd name="T83" fmla="*/ 338152 h 721"/>
                      <a:gd name="T84" fmla="*/ 180374 w 736"/>
                      <a:gd name="T85" fmla="*/ 381664 h 721"/>
                      <a:gd name="T86" fmla="*/ 174866 w 736"/>
                      <a:gd name="T87" fmla="*/ 437608 h 721"/>
                      <a:gd name="T88" fmla="*/ 145951 w 736"/>
                      <a:gd name="T89" fmla="*/ 501012 h 721"/>
                      <a:gd name="T90" fmla="*/ 106021 w 736"/>
                      <a:gd name="T91" fmla="*/ 554470 h 721"/>
                      <a:gd name="T92" fmla="*/ 56453 w 736"/>
                      <a:gd name="T93" fmla="*/ 593009 h 721"/>
                      <a:gd name="T94" fmla="*/ 34422 w 736"/>
                      <a:gd name="T95" fmla="*/ 734734 h 721"/>
                      <a:gd name="T96" fmla="*/ 15146 w 736"/>
                      <a:gd name="T97" fmla="*/ 779490 h 721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736"/>
                      <a:gd name="T148" fmla="*/ 0 h 721"/>
                      <a:gd name="T149" fmla="*/ 736 w 736"/>
                      <a:gd name="T150" fmla="*/ 721 h 721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736" h="721">
                        <a:moveTo>
                          <a:pt x="0" y="691"/>
                        </a:moveTo>
                        <a:lnTo>
                          <a:pt x="46" y="697"/>
                        </a:lnTo>
                        <a:lnTo>
                          <a:pt x="53" y="690"/>
                        </a:lnTo>
                        <a:lnTo>
                          <a:pt x="60" y="685"/>
                        </a:lnTo>
                        <a:lnTo>
                          <a:pt x="68" y="679"/>
                        </a:lnTo>
                        <a:lnTo>
                          <a:pt x="75" y="674"/>
                        </a:lnTo>
                        <a:lnTo>
                          <a:pt x="83" y="671"/>
                        </a:lnTo>
                        <a:lnTo>
                          <a:pt x="91" y="668"/>
                        </a:lnTo>
                        <a:lnTo>
                          <a:pt x="97" y="666"/>
                        </a:lnTo>
                        <a:lnTo>
                          <a:pt x="105" y="666"/>
                        </a:lnTo>
                        <a:lnTo>
                          <a:pt x="116" y="666"/>
                        </a:lnTo>
                        <a:lnTo>
                          <a:pt x="126" y="668"/>
                        </a:lnTo>
                        <a:lnTo>
                          <a:pt x="137" y="671"/>
                        </a:lnTo>
                        <a:lnTo>
                          <a:pt x="149" y="674"/>
                        </a:lnTo>
                        <a:lnTo>
                          <a:pt x="172" y="683"/>
                        </a:lnTo>
                        <a:lnTo>
                          <a:pt x="196" y="692"/>
                        </a:lnTo>
                        <a:lnTo>
                          <a:pt x="208" y="696"/>
                        </a:lnTo>
                        <a:lnTo>
                          <a:pt x="220" y="700"/>
                        </a:lnTo>
                        <a:lnTo>
                          <a:pt x="232" y="703"/>
                        </a:lnTo>
                        <a:lnTo>
                          <a:pt x="245" y="705"/>
                        </a:lnTo>
                        <a:lnTo>
                          <a:pt x="257" y="706"/>
                        </a:lnTo>
                        <a:lnTo>
                          <a:pt x="269" y="707"/>
                        </a:lnTo>
                        <a:lnTo>
                          <a:pt x="280" y="706"/>
                        </a:lnTo>
                        <a:lnTo>
                          <a:pt x="292" y="703"/>
                        </a:lnTo>
                        <a:lnTo>
                          <a:pt x="411" y="703"/>
                        </a:lnTo>
                        <a:lnTo>
                          <a:pt x="411" y="721"/>
                        </a:lnTo>
                        <a:lnTo>
                          <a:pt x="604" y="721"/>
                        </a:lnTo>
                        <a:lnTo>
                          <a:pt x="611" y="717"/>
                        </a:lnTo>
                        <a:lnTo>
                          <a:pt x="619" y="714"/>
                        </a:lnTo>
                        <a:lnTo>
                          <a:pt x="627" y="712"/>
                        </a:lnTo>
                        <a:lnTo>
                          <a:pt x="634" y="710"/>
                        </a:lnTo>
                        <a:lnTo>
                          <a:pt x="651" y="707"/>
                        </a:lnTo>
                        <a:lnTo>
                          <a:pt x="671" y="703"/>
                        </a:lnTo>
                        <a:lnTo>
                          <a:pt x="658" y="691"/>
                        </a:lnTo>
                        <a:lnTo>
                          <a:pt x="643" y="674"/>
                        </a:lnTo>
                        <a:lnTo>
                          <a:pt x="627" y="657"/>
                        </a:lnTo>
                        <a:lnTo>
                          <a:pt x="610" y="641"/>
                        </a:lnTo>
                        <a:lnTo>
                          <a:pt x="610" y="432"/>
                        </a:lnTo>
                        <a:lnTo>
                          <a:pt x="631" y="433"/>
                        </a:lnTo>
                        <a:lnTo>
                          <a:pt x="664" y="433"/>
                        </a:lnTo>
                        <a:lnTo>
                          <a:pt x="680" y="433"/>
                        </a:lnTo>
                        <a:lnTo>
                          <a:pt x="696" y="432"/>
                        </a:lnTo>
                        <a:lnTo>
                          <a:pt x="703" y="431"/>
                        </a:lnTo>
                        <a:lnTo>
                          <a:pt x="709" y="429"/>
                        </a:lnTo>
                        <a:lnTo>
                          <a:pt x="713" y="428"/>
                        </a:lnTo>
                        <a:lnTo>
                          <a:pt x="717" y="426"/>
                        </a:lnTo>
                        <a:lnTo>
                          <a:pt x="720" y="421"/>
                        </a:lnTo>
                        <a:lnTo>
                          <a:pt x="723" y="416"/>
                        </a:lnTo>
                        <a:lnTo>
                          <a:pt x="725" y="408"/>
                        </a:lnTo>
                        <a:lnTo>
                          <a:pt x="728" y="400"/>
                        </a:lnTo>
                        <a:lnTo>
                          <a:pt x="732" y="380"/>
                        </a:lnTo>
                        <a:lnTo>
                          <a:pt x="734" y="360"/>
                        </a:lnTo>
                        <a:lnTo>
                          <a:pt x="736" y="324"/>
                        </a:lnTo>
                        <a:lnTo>
                          <a:pt x="736" y="309"/>
                        </a:lnTo>
                        <a:lnTo>
                          <a:pt x="728" y="304"/>
                        </a:lnTo>
                        <a:lnTo>
                          <a:pt x="722" y="302"/>
                        </a:lnTo>
                        <a:lnTo>
                          <a:pt x="718" y="302"/>
                        </a:lnTo>
                        <a:lnTo>
                          <a:pt x="714" y="303"/>
                        </a:lnTo>
                        <a:lnTo>
                          <a:pt x="711" y="304"/>
                        </a:lnTo>
                        <a:lnTo>
                          <a:pt x="708" y="304"/>
                        </a:lnTo>
                        <a:lnTo>
                          <a:pt x="703" y="302"/>
                        </a:lnTo>
                        <a:lnTo>
                          <a:pt x="697" y="297"/>
                        </a:lnTo>
                        <a:lnTo>
                          <a:pt x="685" y="298"/>
                        </a:lnTo>
                        <a:lnTo>
                          <a:pt x="676" y="300"/>
                        </a:lnTo>
                        <a:lnTo>
                          <a:pt x="666" y="302"/>
                        </a:lnTo>
                        <a:lnTo>
                          <a:pt x="650" y="303"/>
                        </a:lnTo>
                        <a:lnTo>
                          <a:pt x="641" y="302"/>
                        </a:lnTo>
                        <a:lnTo>
                          <a:pt x="634" y="299"/>
                        </a:lnTo>
                        <a:lnTo>
                          <a:pt x="631" y="298"/>
                        </a:lnTo>
                        <a:lnTo>
                          <a:pt x="628" y="295"/>
                        </a:lnTo>
                        <a:lnTo>
                          <a:pt x="626" y="293"/>
                        </a:lnTo>
                        <a:lnTo>
                          <a:pt x="623" y="290"/>
                        </a:lnTo>
                        <a:lnTo>
                          <a:pt x="620" y="282"/>
                        </a:lnTo>
                        <a:lnTo>
                          <a:pt x="619" y="274"/>
                        </a:lnTo>
                        <a:lnTo>
                          <a:pt x="618" y="264"/>
                        </a:lnTo>
                        <a:lnTo>
                          <a:pt x="617" y="253"/>
                        </a:lnTo>
                        <a:lnTo>
                          <a:pt x="616" y="244"/>
                        </a:lnTo>
                        <a:lnTo>
                          <a:pt x="613" y="236"/>
                        </a:lnTo>
                        <a:lnTo>
                          <a:pt x="610" y="227"/>
                        </a:lnTo>
                        <a:lnTo>
                          <a:pt x="607" y="219"/>
                        </a:lnTo>
                        <a:lnTo>
                          <a:pt x="604" y="211"/>
                        </a:lnTo>
                        <a:lnTo>
                          <a:pt x="600" y="203"/>
                        </a:lnTo>
                        <a:lnTo>
                          <a:pt x="598" y="195"/>
                        </a:lnTo>
                        <a:lnTo>
                          <a:pt x="597" y="186"/>
                        </a:lnTo>
                        <a:lnTo>
                          <a:pt x="598" y="181"/>
                        </a:lnTo>
                        <a:lnTo>
                          <a:pt x="600" y="177"/>
                        </a:lnTo>
                        <a:lnTo>
                          <a:pt x="604" y="171"/>
                        </a:lnTo>
                        <a:lnTo>
                          <a:pt x="607" y="167"/>
                        </a:lnTo>
                        <a:lnTo>
                          <a:pt x="610" y="162"/>
                        </a:lnTo>
                        <a:lnTo>
                          <a:pt x="613" y="157"/>
                        </a:lnTo>
                        <a:lnTo>
                          <a:pt x="616" y="153"/>
                        </a:lnTo>
                        <a:lnTo>
                          <a:pt x="617" y="148"/>
                        </a:lnTo>
                        <a:lnTo>
                          <a:pt x="616" y="136"/>
                        </a:lnTo>
                        <a:lnTo>
                          <a:pt x="612" y="120"/>
                        </a:lnTo>
                        <a:lnTo>
                          <a:pt x="611" y="109"/>
                        </a:lnTo>
                        <a:lnTo>
                          <a:pt x="611" y="100"/>
                        </a:lnTo>
                        <a:lnTo>
                          <a:pt x="613" y="90"/>
                        </a:lnTo>
                        <a:lnTo>
                          <a:pt x="617" y="81"/>
                        </a:lnTo>
                        <a:lnTo>
                          <a:pt x="594" y="77"/>
                        </a:lnTo>
                        <a:lnTo>
                          <a:pt x="544" y="70"/>
                        </a:lnTo>
                        <a:lnTo>
                          <a:pt x="517" y="67"/>
                        </a:lnTo>
                        <a:lnTo>
                          <a:pt x="494" y="66"/>
                        </a:lnTo>
                        <a:lnTo>
                          <a:pt x="484" y="65"/>
                        </a:lnTo>
                        <a:lnTo>
                          <a:pt x="477" y="66"/>
                        </a:lnTo>
                        <a:lnTo>
                          <a:pt x="473" y="67"/>
                        </a:lnTo>
                        <a:lnTo>
                          <a:pt x="471" y="69"/>
                        </a:lnTo>
                        <a:lnTo>
                          <a:pt x="471" y="73"/>
                        </a:lnTo>
                        <a:lnTo>
                          <a:pt x="471" y="81"/>
                        </a:lnTo>
                        <a:lnTo>
                          <a:pt x="470" y="86"/>
                        </a:lnTo>
                        <a:lnTo>
                          <a:pt x="469" y="91"/>
                        </a:lnTo>
                        <a:lnTo>
                          <a:pt x="466" y="96"/>
                        </a:lnTo>
                        <a:lnTo>
                          <a:pt x="463" y="101"/>
                        </a:lnTo>
                        <a:lnTo>
                          <a:pt x="460" y="107"/>
                        </a:lnTo>
                        <a:lnTo>
                          <a:pt x="454" y="112"/>
                        </a:lnTo>
                        <a:lnTo>
                          <a:pt x="448" y="117"/>
                        </a:lnTo>
                        <a:lnTo>
                          <a:pt x="440" y="122"/>
                        </a:lnTo>
                        <a:lnTo>
                          <a:pt x="430" y="125"/>
                        </a:lnTo>
                        <a:lnTo>
                          <a:pt x="419" y="128"/>
                        </a:lnTo>
                        <a:lnTo>
                          <a:pt x="406" y="130"/>
                        </a:lnTo>
                        <a:lnTo>
                          <a:pt x="392" y="130"/>
                        </a:lnTo>
                        <a:lnTo>
                          <a:pt x="385" y="129"/>
                        </a:lnTo>
                        <a:lnTo>
                          <a:pt x="378" y="127"/>
                        </a:lnTo>
                        <a:lnTo>
                          <a:pt x="372" y="122"/>
                        </a:lnTo>
                        <a:lnTo>
                          <a:pt x="364" y="115"/>
                        </a:lnTo>
                        <a:lnTo>
                          <a:pt x="358" y="108"/>
                        </a:lnTo>
                        <a:lnTo>
                          <a:pt x="351" y="100"/>
                        </a:lnTo>
                        <a:lnTo>
                          <a:pt x="344" y="91"/>
                        </a:lnTo>
                        <a:lnTo>
                          <a:pt x="339" y="82"/>
                        </a:lnTo>
                        <a:lnTo>
                          <a:pt x="333" y="72"/>
                        </a:lnTo>
                        <a:lnTo>
                          <a:pt x="328" y="60"/>
                        </a:lnTo>
                        <a:lnTo>
                          <a:pt x="324" y="50"/>
                        </a:lnTo>
                        <a:lnTo>
                          <a:pt x="319" y="39"/>
                        </a:lnTo>
                        <a:lnTo>
                          <a:pt x="316" y="29"/>
                        </a:lnTo>
                        <a:lnTo>
                          <a:pt x="314" y="19"/>
                        </a:lnTo>
                        <a:lnTo>
                          <a:pt x="312" y="10"/>
                        </a:lnTo>
                        <a:lnTo>
                          <a:pt x="312" y="0"/>
                        </a:lnTo>
                        <a:lnTo>
                          <a:pt x="26" y="0"/>
                        </a:lnTo>
                        <a:lnTo>
                          <a:pt x="26" y="5"/>
                        </a:lnTo>
                        <a:lnTo>
                          <a:pt x="28" y="10"/>
                        </a:lnTo>
                        <a:lnTo>
                          <a:pt x="30" y="15"/>
                        </a:lnTo>
                        <a:lnTo>
                          <a:pt x="34" y="19"/>
                        </a:lnTo>
                        <a:lnTo>
                          <a:pt x="38" y="22"/>
                        </a:lnTo>
                        <a:lnTo>
                          <a:pt x="42" y="26"/>
                        </a:lnTo>
                        <a:lnTo>
                          <a:pt x="47" y="29"/>
                        </a:lnTo>
                        <a:lnTo>
                          <a:pt x="52" y="31"/>
                        </a:lnTo>
                        <a:lnTo>
                          <a:pt x="58" y="47"/>
                        </a:lnTo>
                        <a:lnTo>
                          <a:pt x="67" y="61"/>
                        </a:lnTo>
                        <a:lnTo>
                          <a:pt x="75" y="75"/>
                        </a:lnTo>
                        <a:lnTo>
                          <a:pt x="84" y="89"/>
                        </a:lnTo>
                        <a:lnTo>
                          <a:pt x="92" y="104"/>
                        </a:lnTo>
                        <a:lnTo>
                          <a:pt x="98" y="121"/>
                        </a:lnTo>
                        <a:lnTo>
                          <a:pt x="102" y="130"/>
                        </a:lnTo>
                        <a:lnTo>
                          <a:pt x="104" y="139"/>
                        </a:lnTo>
                        <a:lnTo>
                          <a:pt x="105" y="150"/>
                        </a:lnTo>
                        <a:lnTo>
                          <a:pt x="105" y="161"/>
                        </a:lnTo>
                        <a:lnTo>
                          <a:pt x="103" y="171"/>
                        </a:lnTo>
                        <a:lnTo>
                          <a:pt x="98" y="183"/>
                        </a:lnTo>
                        <a:lnTo>
                          <a:pt x="96" y="190"/>
                        </a:lnTo>
                        <a:lnTo>
                          <a:pt x="94" y="196"/>
                        </a:lnTo>
                        <a:lnTo>
                          <a:pt x="93" y="203"/>
                        </a:lnTo>
                        <a:lnTo>
                          <a:pt x="92" y="210"/>
                        </a:lnTo>
                        <a:lnTo>
                          <a:pt x="93" y="217"/>
                        </a:lnTo>
                        <a:lnTo>
                          <a:pt x="94" y="223"/>
                        </a:lnTo>
                        <a:lnTo>
                          <a:pt x="96" y="229"/>
                        </a:lnTo>
                        <a:lnTo>
                          <a:pt x="98" y="236"/>
                        </a:lnTo>
                        <a:lnTo>
                          <a:pt x="105" y="248"/>
                        </a:lnTo>
                        <a:lnTo>
                          <a:pt x="112" y="260"/>
                        </a:lnTo>
                        <a:lnTo>
                          <a:pt x="119" y="272"/>
                        </a:lnTo>
                        <a:lnTo>
                          <a:pt x="126" y="285"/>
                        </a:lnTo>
                        <a:lnTo>
                          <a:pt x="128" y="293"/>
                        </a:lnTo>
                        <a:lnTo>
                          <a:pt x="130" y="300"/>
                        </a:lnTo>
                        <a:lnTo>
                          <a:pt x="131" y="307"/>
                        </a:lnTo>
                        <a:lnTo>
                          <a:pt x="133" y="315"/>
                        </a:lnTo>
                        <a:lnTo>
                          <a:pt x="131" y="326"/>
                        </a:lnTo>
                        <a:lnTo>
                          <a:pt x="129" y="338"/>
                        </a:lnTo>
                        <a:lnTo>
                          <a:pt x="127" y="352"/>
                        </a:lnTo>
                        <a:lnTo>
                          <a:pt x="123" y="364"/>
                        </a:lnTo>
                        <a:lnTo>
                          <a:pt x="118" y="377"/>
                        </a:lnTo>
                        <a:lnTo>
                          <a:pt x="113" y="389"/>
                        </a:lnTo>
                        <a:lnTo>
                          <a:pt x="106" y="403"/>
                        </a:lnTo>
                        <a:lnTo>
                          <a:pt x="100" y="414"/>
                        </a:lnTo>
                        <a:lnTo>
                          <a:pt x="92" y="426"/>
                        </a:lnTo>
                        <a:lnTo>
                          <a:pt x="84" y="436"/>
                        </a:lnTo>
                        <a:lnTo>
                          <a:pt x="77" y="446"/>
                        </a:lnTo>
                        <a:lnTo>
                          <a:pt x="68" y="457"/>
                        </a:lnTo>
                        <a:lnTo>
                          <a:pt x="59" y="465"/>
                        </a:lnTo>
                        <a:lnTo>
                          <a:pt x="50" y="471"/>
                        </a:lnTo>
                        <a:lnTo>
                          <a:pt x="41" y="477"/>
                        </a:lnTo>
                        <a:lnTo>
                          <a:pt x="33" y="481"/>
                        </a:lnTo>
                        <a:lnTo>
                          <a:pt x="33" y="586"/>
                        </a:lnTo>
                        <a:lnTo>
                          <a:pt x="28" y="588"/>
                        </a:lnTo>
                        <a:lnTo>
                          <a:pt x="25" y="591"/>
                        </a:lnTo>
                        <a:lnTo>
                          <a:pt x="23" y="595"/>
                        </a:lnTo>
                        <a:lnTo>
                          <a:pt x="19" y="600"/>
                        </a:lnTo>
                        <a:lnTo>
                          <a:pt x="15" y="612"/>
                        </a:lnTo>
                        <a:lnTo>
                          <a:pt x="11" y="627"/>
                        </a:lnTo>
                        <a:lnTo>
                          <a:pt x="4" y="659"/>
                        </a:lnTo>
                        <a:lnTo>
                          <a:pt x="0" y="691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1" name="Freeform 381"/>
                  <p:cNvSpPr>
                    <a:spLocks/>
                  </p:cNvSpPr>
                  <p:nvPr>
                    <p:custDataLst>
                      <p:tags r:id="rId33"/>
                    </p:custDataLst>
                  </p:nvPr>
                </p:nvSpPr>
                <p:spPr bwMode="auto">
                  <a:xfrm>
                    <a:off x="4491376" y="3941624"/>
                    <a:ext cx="48779" cy="141521"/>
                  </a:xfrm>
                  <a:custGeom>
                    <a:avLst/>
                    <a:gdLst>
                      <a:gd name="T0" fmla="*/ 0 w 39"/>
                      <a:gd name="T1" fmla="*/ 142516 h 31"/>
                      <a:gd name="T2" fmla="*/ 15513 w 39"/>
                      <a:gd name="T3" fmla="*/ 128724 h 31"/>
                      <a:gd name="T4" fmla="*/ 28441 w 39"/>
                      <a:gd name="T5" fmla="*/ 128724 h 31"/>
                      <a:gd name="T6" fmla="*/ 33612 w 39"/>
                      <a:gd name="T7" fmla="*/ 128724 h 31"/>
                      <a:gd name="T8" fmla="*/ 38783 w 39"/>
                      <a:gd name="T9" fmla="*/ 128724 h 31"/>
                      <a:gd name="T10" fmla="*/ 45247 w 39"/>
                      <a:gd name="T11" fmla="*/ 124127 h 31"/>
                      <a:gd name="T12" fmla="*/ 50418 w 39"/>
                      <a:gd name="T13" fmla="*/ 114932 h 31"/>
                      <a:gd name="T14" fmla="*/ 50418 w 39"/>
                      <a:gd name="T15" fmla="*/ 0 h 31"/>
                      <a:gd name="T16" fmla="*/ 33612 w 39"/>
                      <a:gd name="T17" fmla="*/ 0 h 31"/>
                      <a:gd name="T18" fmla="*/ 21977 w 39"/>
                      <a:gd name="T19" fmla="*/ 0 h 31"/>
                      <a:gd name="T20" fmla="*/ 10342 w 39"/>
                      <a:gd name="T21" fmla="*/ 0 h 31"/>
                      <a:gd name="T22" fmla="*/ 0 w 39"/>
                      <a:gd name="T23" fmla="*/ 0 h 31"/>
                      <a:gd name="T24" fmla="*/ 0 w 39"/>
                      <a:gd name="T25" fmla="*/ 142516 h 31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9"/>
                      <a:gd name="T40" fmla="*/ 0 h 31"/>
                      <a:gd name="T41" fmla="*/ 39 w 39"/>
                      <a:gd name="T42" fmla="*/ 31 h 31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9" h="31">
                        <a:moveTo>
                          <a:pt x="0" y="31"/>
                        </a:moveTo>
                        <a:lnTo>
                          <a:pt x="12" y="28"/>
                        </a:lnTo>
                        <a:lnTo>
                          <a:pt x="22" y="28"/>
                        </a:lnTo>
                        <a:lnTo>
                          <a:pt x="26" y="28"/>
                        </a:lnTo>
                        <a:lnTo>
                          <a:pt x="30" y="28"/>
                        </a:lnTo>
                        <a:lnTo>
                          <a:pt x="35" y="27"/>
                        </a:lnTo>
                        <a:lnTo>
                          <a:pt x="39" y="25"/>
                        </a:lnTo>
                        <a:lnTo>
                          <a:pt x="39" y="0"/>
                        </a:lnTo>
                        <a:lnTo>
                          <a:pt x="26" y="0"/>
                        </a:lnTo>
                        <a:lnTo>
                          <a:pt x="17" y="0"/>
                        </a:lnTo>
                        <a:lnTo>
                          <a:pt x="8" y="0"/>
                        </a:lnTo>
                        <a:lnTo>
                          <a:pt x="0" y="0"/>
                        </a:lnTo>
                        <a:lnTo>
                          <a:pt x="0" y="31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2" name="Freeform 382"/>
                  <p:cNvSpPr>
                    <a:spLocks/>
                  </p:cNvSpPr>
                  <p:nvPr>
                    <p:custDataLst>
                      <p:tags r:id="rId34"/>
                    </p:custDataLst>
                  </p:nvPr>
                </p:nvSpPr>
                <p:spPr bwMode="auto">
                  <a:xfrm>
                    <a:off x="4812192" y="5223453"/>
                    <a:ext cx="1253240" cy="941851"/>
                  </a:xfrm>
                  <a:custGeom>
                    <a:avLst/>
                    <a:gdLst>
                      <a:gd name="T0" fmla="*/ 1244997 w 903"/>
                      <a:gd name="T1" fmla="*/ 360914 h 759"/>
                      <a:gd name="T2" fmla="*/ 1195141 w 903"/>
                      <a:gd name="T3" fmla="*/ 481219 h 759"/>
                      <a:gd name="T4" fmla="*/ 1152210 w 903"/>
                      <a:gd name="T5" fmla="*/ 513465 h 759"/>
                      <a:gd name="T6" fmla="*/ 1053885 w 903"/>
                      <a:gd name="T7" fmla="*/ 628809 h 759"/>
                      <a:gd name="T8" fmla="*/ 997105 w 903"/>
                      <a:gd name="T9" fmla="*/ 695783 h 759"/>
                      <a:gd name="T10" fmla="*/ 896010 w 903"/>
                      <a:gd name="T11" fmla="*/ 760276 h 759"/>
                      <a:gd name="T12" fmla="*/ 807378 w 903"/>
                      <a:gd name="T13" fmla="*/ 826009 h 759"/>
                      <a:gd name="T14" fmla="*/ 771372 w 903"/>
                      <a:gd name="T15" fmla="*/ 865698 h 759"/>
                      <a:gd name="T16" fmla="*/ 720132 w 903"/>
                      <a:gd name="T17" fmla="*/ 874379 h 759"/>
                      <a:gd name="T18" fmla="*/ 686895 w 903"/>
                      <a:gd name="T19" fmla="*/ 880581 h 759"/>
                      <a:gd name="T20" fmla="*/ 671661 w 903"/>
                      <a:gd name="T21" fmla="*/ 901665 h 759"/>
                      <a:gd name="T22" fmla="*/ 515171 w 903"/>
                      <a:gd name="T23" fmla="*/ 901665 h 759"/>
                      <a:gd name="T24" fmla="*/ 469470 w 903"/>
                      <a:gd name="T25" fmla="*/ 907866 h 759"/>
                      <a:gd name="T26" fmla="*/ 437618 w 903"/>
                      <a:gd name="T27" fmla="*/ 907866 h 759"/>
                      <a:gd name="T28" fmla="*/ 396072 w 903"/>
                      <a:gd name="T29" fmla="*/ 901665 h 759"/>
                      <a:gd name="T30" fmla="*/ 364220 w 903"/>
                      <a:gd name="T31" fmla="*/ 914067 h 759"/>
                      <a:gd name="T32" fmla="*/ 202191 w 903"/>
                      <a:gd name="T33" fmla="*/ 941353 h 759"/>
                      <a:gd name="T34" fmla="*/ 160645 w 903"/>
                      <a:gd name="T35" fmla="*/ 933911 h 759"/>
                      <a:gd name="T36" fmla="*/ 124638 w 903"/>
                      <a:gd name="T37" fmla="*/ 916548 h 759"/>
                      <a:gd name="T38" fmla="*/ 105250 w 903"/>
                      <a:gd name="T39" fmla="*/ 891743 h 759"/>
                      <a:gd name="T40" fmla="*/ 109405 w 903"/>
                      <a:gd name="T41" fmla="*/ 864457 h 759"/>
                      <a:gd name="T42" fmla="*/ 103865 w 903"/>
                      <a:gd name="T43" fmla="*/ 778880 h 759"/>
                      <a:gd name="T44" fmla="*/ 109405 w 903"/>
                      <a:gd name="T45" fmla="*/ 754075 h 759"/>
                      <a:gd name="T46" fmla="*/ 94171 w 903"/>
                      <a:gd name="T47" fmla="*/ 709426 h 759"/>
                      <a:gd name="T48" fmla="*/ 30467 w 903"/>
                      <a:gd name="T49" fmla="*/ 639971 h 759"/>
                      <a:gd name="T50" fmla="*/ 16618 w 903"/>
                      <a:gd name="T51" fmla="*/ 600283 h 759"/>
                      <a:gd name="T52" fmla="*/ 13849 w 903"/>
                      <a:gd name="T53" fmla="*/ 544472 h 759"/>
                      <a:gd name="T54" fmla="*/ 0 w 903"/>
                      <a:gd name="T55" fmla="*/ 467576 h 759"/>
                      <a:gd name="T56" fmla="*/ 54010 w 903"/>
                      <a:gd name="T57" fmla="*/ 467576 h 759"/>
                      <a:gd name="T58" fmla="*/ 78937 w 903"/>
                      <a:gd name="T59" fmla="*/ 491141 h 759"/>
                      <a:gd name="T60" fmla="*/ 130178 w 903"/>
                      <a:gd name="T61" fmla="*/ 508504 h 759"/>
                      <a:gd name="T62" fmla="*/ 186957 w 903"/>
                      <a:gd name="T63" fmla="*/ 509744 h 759"/>
                      <a:gd name="T64" fmla="*/ 221579 w 903"/>
                      <a:gd name="T65" fmla="*/ 496102 h 759"/>
                      <a:gd name="T66" fmla="*/ 252046 w 903"/>
                      <a:gd name="T67" fmla="*/ 461375 h 759"/>
                      <a:gd name="T68" fmla="*/ 272819 w 903"/>
                      <a:gd name="T69" fmla="*/ 284018 h 759"/>
                      <a:gd name="T70" fmla="*/ 282513 w 903"/>
                      <a:gd name="T71" fmla="*/ 228207 h 759"/>
                      <a:gd name="T72" fmla="*/ 290822 w 903"/>
                      <a:gd name="T73" fmla="*/ 208363 h 759"/>
                      <a:gd name="T74" fmla="*/ 330983 w 903"/>
                      <a:gd name="T75" fmla="*/ 220765 h 759"/>
                      <a:gd name="T76" fmla="*/ 339293 w 903"/>
                      <a:gd name="T77" fmla="*/ 295180 h 759"/>
                      <a:gd name="T78" fmla="*/ 342062 w 903"/>
                      <a:gd name="T79" fmla="*/ 339830 h 759"/>
                      <a:gd name="T80" fmla="*/ 354526 w 903"/>
                      <a:gd name="T81" fmla="*/ 355953 h 759"/>
                      <a:gd name="T82" fmla="*/ 397457 w 903"/>
                      <a:gd name="T83" fmla="*/ 365875 h 759"/>
                      <a:gd name="T84" fmla="*/ 432079 w 903"/>
                      <a:gd name="T85" fmla="*/ 363395 h 759"/>
                      <a:gd name="T86" fmla="*/ 461161 w 903"/>
                      <a:gd name="T87" fmla="*/ 337349 h 759"/>
                      <a:gd name="T88" fmla="*/ 484704 w 903"/>
                      <a:gd name="T89" fmla="*/ 290219 h 759"/>
                      <a:gd name="T90" fmla="*/ 509632 w 903"/>
                      <a:gd name="T91" fmla="*/ 249291 h 759"/>
                      <a:gd name="T92" fmla="*/ 535944 w 903"/>
                      <a:gd name="T93" fmla="*/ 236889 h 759"/>
                      <a:gd name="T94" fmla="*/ 573335 w 903"/>
                      <a:gd name="T95" fmla="*/ 239369 h 759"/>
                      <a:gd name="T96" fmla="*/ 624576 w 903"/>
                      <a:gd name="T97" fmla="*/ 257973 h 759"/>
                      <a:gd name="T98" fmla="*/ 661967 w 903"/>
                      <a:gd name="T99" fmla="*/ 267895 h 759"/>
                      <a:gd name="T100" fmla="*/ 709053 w 903"/>
                      <a:gd name="T101" fmla="*/ 264174 h 759"/>
                      <a:gd name="T102" fmla="*/ 735365 w 903"/>
                      <a:gd name="T103" fmla="*/ 248051 h 759"/>
                      <a:gd name="T104" fmla="*/ 781066 w 903"/>
                      <a:gd name="T105" fmla="*/ 157512 h 759"/>
                      <a:gd name="T106" fmla="*/ 858618 w 903"/>
                      <a:gd name="T107" fmla="*/ 99220 h 759"/>
                      <a:gd name="T108" fmla="*/ 1013724 w 903"/>
                      <a:gd name="T109" fmla="*/ 13643 h 759"/>
                      <a:gd name="T110" fmla="*/ 1116204 w 903"/>
                      <a:gd name="T111" fmla="*/ 3721 h 759"/>
                      <a:gd name="T112" fmla="*/ 1149441 w 903"/>
                      <a:gd name="T113" fmla="*/ 7442 h 759"/>
                      <a:gd name="T114" fmla="*/ 1182677 w 903"/>
                      <a:gd name="T115" fmla="*/ 43409 h 759"/>
                      <a:gd name="T116" fmla="*/ 1208990 w 903"/>
                      <a:gd name="T117" fmla="*/ 88058 h 759"/>
                      <a:gd name="T118" fmla="*/ 1222839 w 903"/>
                      <a:gd name="T119" fmla="*/ 132707 h 759"/>
                      <a:gd name="T120" fmla="*/ 1202066 w 903"/>
                      <a:gd name="T121" fmla="*/ 256733 h 759"/>
                      <a:gd name="T122" fmla="*/ 1149441 w 903"/>
                      <a:gd name="T123" fmla="*/ 253012 h 759"/>
                      <a:gd name="T124" fmla="*/ 1143901 w 903"/>
                      <a:gd name="T125" fmla="*/ 348511 h 759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903"/>
                      <a:gd name="T190" fmla="*/ 0 h 759"/>
                      <a:gd name="T191" fmla="*/ 903 w 903"/>
                      <a:gd name="T192" fmla="*/ 759 h 759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903" h="759">
                        <a:moveTo>
                          <a:pt x="870" y="296"/>
                        </a:moveTo>
                        <a:lnTo>
                          <a:pt x="875" y="295"/>
                        </a:lnTo>
                        <a:lnTo>
                          <a:pt x="886" y="293"/>
                        </a:lnTo>
                        <a:lnTo>
                          <a:pt x="899" y="291"/>
                        </a:lnTo>
                        <a:lnTo>
                          <a:pt x="903" y="290"/>
                        </a:lnTo>
                        <a:lnTo>
                          <a:pt x="863" y="364"/>
                        </a:lnTo>
                        <a:lnTo>
                          <a:pt x="863" y="376"/>
                        </a:lnTo>
                        <a:lnTo>
                          <a:pt x="863" y="388"/>
                        </a:lnTo>
                        <a:lnTo>
                          <a:pt x="857" y="392"/>
                        </a:lnTo>
                        <a:lnTo>
                          <a:pt x="849" y="397"/>
                        </a:lnTo>
                        <a:lnTo>
                          <a:pt x="840" y="405"/>
                        </a:lnTo>
                        <a:lnTo>
                          <a:pt x="832" y="414"/>
                        </a:lnTo>
                        <a:lnTo>
                          <a:pt x="813" y="436"/>
                        </a:lnTo>
                        <a:lnTo>
                          <a:pt x="794" y="460"/>
                        </a:lnTo>
                        <a:lnTo>
                          <a:pt x="776" y="485"/>
                        </a:lnTo>
                        <a:lnTo>
                          <a:pt x="761" y="507"/>
                        </a:lnTo>
                        <a:lnTo>
                          <a:pt x="749" y="525"/>
                        </a:lnTo>
                        <a:lnTo>
                          <a:pt x="744" y="537"/>
                        </a:lnTo>
                        <a:lnTo>
                          <a:pt x="732" y="550"/>
                        </a:lnTo>
                        <a:lnTo>
                          <a:pt x="720" y="561"/>
                        </a:lnTo>
                        <a:lnTo>
                          <a:pt x="706" y="571"/>
                        </a:lnTo>
                        <a:lnTo>
                          <a:pt x="694" y="581"/>
                        </a:lnTo>
                        <a:lnTo>
                          <a:pt x="670" y="598"/>
                        </a:lnTo>
                        <a:lnTo>
                          <a:pt x="647" y="613"/>
                        </a:lnTo>
                        <a:lnTo>
                          <a:pt x="624" y="628"/>
                        </a:lnTo>
                        <a:lnTo>
                          <a:pt x="603" y="646"/>
                        </a:lnTo>
                        <a:lnTo>
                          <a:pt x="592" y="655"/>
                        </a:lnTo>
                        <a:lnTo>
                          <a:pt x="583" y="666"/>
                        </a:lnTo>
                        <a:lnTo>
                          <a:pt x="574" y="677"/>
                        </a:lnTo>
                        <a:lnTo>
                          <a:pt x="565" y="690"/>
                        </a:lnTo>
                        <a:lnTo>
                          <a:pt x="561" y="694"/>
                        </a:lnTo>
                        <a:lnTo>
                          <a:pt x="557" y="698"/>
                        </a:lnTo>
                        <a:lnTo>
                          <a:pt x="553" y="700"/>
                        </a:lnTo>
                        <a:lnTo>
                          <a:pt x="546" y="702"/>
                        </a:lnTo>
                        <a:lnTo>
                          <a:pt x="534" y="704"/>
                        </a:lnTo>
                        <a:lnTo>
                          <a:pt x="520" y="705"/>
                        </a:lnTo>
                        <a:lnTo>
                          <a:pt x="513" y="705"/>
                        </a:lnTo>
                        <a:lnTo>
                          <a:pt x="507" y="706"/>
                        </a:lnTo>
                        <a:lnTo>
                          <a:pt x="501" y="708"/>
                        </a:lnTo>
                        <a:lnTo>
                          <a:pt x="496" y="710"/>
                        </a:lnTo>
                        <a:lnTo>
                          <a:pt x="491" y="713"/>
                        </a:lnTo>
                        <a:lnTo>
                          <a:pt x="488" y="716"/>
                        </a:lnTo>
                        <a:lnTo>
                          <a:pt x="486" y="721"/>
                        </a:lnTo>
                        <a:lnTo>
                          <a:pt x="485" y="727"/>
                        </a:lnTo>
                        <a:lnTo>
                          <a:pt x="444" y="727"/>
                        </a:lnTo>
                        <a:lnTo>
                          <a:pt x="415" y="727"/>
                        </a:lnTo>
                        <a:lnTo>
                          <a:pt x="395" y="727"/>
                        </a:lnTo>
                        <a:lnTo>
                          <a:pt x="372" y="727"/>
                        </a:lnTo>
                        <a:lnTo>
                          <a:pt x="359" y="727"/>
                        </a:lnTo>
                        <a:lnTo>
                          <a:pt x="348" y="729"/>
                        </a:lnTo>
                        <a:lnTo>
                          <a:pt x="344" y="730"/>
                        </a:lnTo>
                        <a:lnTo>
                          <a:pt x="339" y="732"/>
                        </a:lnTo>
                        <a:lnTo>
                          <a:pt x="332" y="735"/>
                        </a:lnTo>
                        <a:lnTo>
                          <a:pt x="325" y="739"/>
                        </a:lnTo>
                        <a:lnTo>
                          <a:pt x="320" y="735"/>
                        </a:lnTo>
                        <a:lnTo>
                          <a:pt x="316" y="732"/>
                        </a:lnTo>
                        <a:lnTo>
                          <a:pt x="310" y="730"/>
                        </a:lnTo>
                        <a:lnTo>
                          <a:pt x="306" y="729"/>
                        </a:lnTo>
                        <a:lnTo>
                          <a:pt x="296" y="727"/>
                        </a:lnTo>
                        <a:lnTo>
                          <a:pt x="286" y="727"/>
                        </a:lnTo>
                        <a:lnTo>
                          <a:pt x="283" y="730"/>
                        </a:lnTo>
                        <a:lnTo>
                          <a:pt x="278" y="732"/>
                        </a:lnTo>
                        <a:lnTo>
                          <a:pt x="272" y="735"/>
                        </a:lnTo>
                        <a:lnTo>
                          <a:pt x="263" y="737"/>
                        </a:lnTo>
                        <a:lnTo>
                          <a:pt x="242" y="742"/>
                        </a:lnTo>
                        <a:lnTo>
                          <a:pt x="218" y="747"/>
                        </a:lnTo>
                        <a:lnTo>
                          <a:pt x="173" y="756"/>
                        </a:lnTo>
                        <a:lnTo>
                          <a:pt x="146" y="759"/>
                        </a:lnTo>
                        <a:lnTo>
                          <a:pt x="139" y="758"/>
                        </a:lnTo>
                        <a:lnTo>
                          <a:pt x="131" y="757"/>
                        </a:lnTo>
                        <a:lnTo>
                          <a:pt x="123" y="756"/>
                        </a:lnTo>
                        <a:lnTo>
                          <a:pt x="116" y="753"/>
                        </a:lnTo>
                        <a:lnTo>
                          <a:pt x="109" y="750"/>
                        </a:lnTo>
                        <a:lnTo>
                          <a:pt x="103" y="746"/>
                        </a:lnTo>
                        <a:lnTo>
                          <a:pt x="96" y="743"/>
                        </a:lnTo>
                        <a:lnTo>
                          <a:pt x="90" y="739"/>
                        </a:lnTo>
                        <a:lnTo>
                          <a:pt x="85" y="734"/>
                        </a:lnTo>
                        <a:lnTo>
                          <a:pt x="82" y="730"/>
                        </a:lnTo>
                        <a:lnTo>
                          <a:pt x="78" y="725"/>
                        </a:lnTo>
                        <a:lnTo>
                          <a:pt x="76" y="719"/>
                        </a:lnTo>
                        <a:lnTo>
                          <a:pt x="75" y="714"/>
                        </a:lnTo>
                        <a:lnTo>
                          <a:pt x="75" y="708"/>
                        </a:lnTo>
                        <a:lnTo>
                          <a:pt x="76" y="703"/>
                        </a:lnTo>
                        <a:lnTo>
                          <a:pt x="79" y="697"/>
                        </a:lnTo>
                        <a:lnTo>
                          <a:pt x="60" y="648"/>
                        </a:lnTo>
                        <a:lnTo>
                          <a:pt x="65" y="639"/>
                        </a:lnTo>
                        <a:lnTo>
                          <a:pt x="72" y="632"/>
                        </a:lnTo>
                        <a:lnTo>
                          <a:pt x="75" y="628"/>
                        </a:lnTo>
                        <a:lnTo>
                          <a:pt x="77" y="625"/>
                        </a:lnTo>
                        <a:lnTo>
                          <a:pt x="79" y="621"/>
                        </a:lnTo>
                        <a:lnTo>
                          <a:pt x="79" y="616"/>
                        </a:lnTo>
                        <a:lnTo>
                          <a:pt x="79" y="608"/>
                        </a:lnTo>
                        <a:lnTo>
                          <a:pt x="78" y="600"/>
                        </a:lnTo>
                        <a:lnTo>
                          <a:pt x="76" y="592"/>
                        </a:lnTo>
                        <a:lnTo>
                          <a:pt x="74" y="584"/>
                        </a:lnTo>
                        <a:lnTo>
                          <a:pt x="68" y="572"/>
                        </a:lnTo>
                        <a:lnTo>
                          <a:pt x="61" y="561"/>
                        </a:lnTo>
                        <a:lnTo>
                          <a:pt x="43" y="542"/>
                        </a:lnTo>
                        <a:lnTo>
                          <a:pt x="27" y="524"/>
                        </a:lnTo>
                        <a:lnTo>
                          <a:pt x="22" y="516"/>
                        </a:lnTo>
                        <a:lnTo>
                          <a:pt x="18" y="509"/>
                        </a:lnTo>
                        <a:lnTo>
                          <a:pt x="16" y="502"/>
                        </a:lnTo>
                        <a:lnTo>
                          <a:pt x="14" y="496"/>
                        </a:lnTo>
                        <a:lnTo>
                          <a:pt x="12" y="484"/>
                        </a:lnTo>
                        <a:lnTo>
                          <a:pt x="11" y="472"/>
                        </a:lnTo>
                        <a:lnTo>
                          <a:pt x="11" y="461"/>
                        </a:lnTo>
                        <a:lnTo>
                          <a:pt x="11" y="450"/>
                        </a:lnTo>
                        <a:lnTo>
                          <a:pt x="10" y="439"/>
                        </a:lnTo>
                        <a:lnTo>
                          <a:pt x="7" y="426"/>
                        </a:lnTo>
                        <a:lnTo>
                          <a:pt x="6" y="412"/>
                        </a:lnTo>
                        <a:lnTo>
                          <a:pt x="4" y="395"/>
                        </a:lnTo>
                        <a:lnTo>
                          <a:pt x="0" y="377"/>
                        </a:lnTo>
                        <a:lnTo>
                          <a:pt x="0" y="364"/>
                        </a:lnTo>
                        <a:lnTo>
                          <a:pt x="33" y="364"/>
                        </a:lnTo>
                        <a:lnTo>
                          <a:pt x="36" y="371"/>
                        </a:lnTo>
                        <a:lnTo>
                          <a:pt x="39" y="377"/>
                        </a:lnTo>
                        <a:lnTo>
                          <a:pt x="43" y="382"/>
                        </a:lnTo>
                        <a:lnTo>
                          <a:pt x="48" y="387"/>
                        </a:lnTo>
                        <a:lnTo>
                          <a:pt x="52" y="392"/>
                        </a:lnTo>
                        <a:lnTo>
                          <a:pt x="57" y="396"/>
                        </a:lnTo>
                        <a:lnTo>
                          <a:pt x="63" y="399"/>
                        </a:lnTo>
                        <a:lnTo>
                          <a:pt x="68" y="402"/>
                        </a:lnTo>
                        <a:lnTo>
                          <a:pt x="81" y="407"/>
                        </a:lnTo>
                        <a:lnTo>
                          <a:pt x="94" y="410"/>
                        </a:lnTo>
                        <a:lnTo>
                          <a:pt x="107" y="412"/>
                        </a:lnTo>
                        <a:lnTo>
                          <a:pt x="119" y="413"/>
                        </a:lnTo>
                        <a:lnTo>
                          <a:pt x="128" y="412"/>
                        </a:lnTo>
                        <a:lnTo>
                          <a:pt x="135" y="411"/>
                        </a:lnTo>
                        <a:lnTo>
                          <a:pt x="142" y="409"/>
                        </a:lnTo>
                        <a:lnTo>
                          <a:pt x="149" y="407"/>
                        </a:lnTo>
                        <a:lnTo>
                          <a:pt x="154" y="404"/>
                        </a:lnTo>
                        <a:lnTo>
                          <a:pt x="160" y="400"/>
                        </a:lnTo>
                        <a:lnTo>
                          <a:pt x="164" y="396"/>
                        </a:lnTo>
                        <a:lnTo>
                          <a:pt x="168" y="392"/>
                        </a:lnTo>
                        <a:lnTo>
                          <a:pt x="176" y="382"/>
                        </a:lnTo>
                        <a:lnTo>
                          <a:pt x="182" y="372"/>
                        </a:lnTo>
                        <a:lnTo>
                          <a:pt x="187" y="361"/>
                        </a:lnTo>
                        <a:lnTo>
                          <a:pt x="193" y="351"/>
                        </a:lnTo>
                        <a:lnTo>
                          <a:pt x="193" y="240"/>
                        </a:lnTo>
                        <a:lnTo>
                          <a:pt x="197" y="229"/>
                        </a:lnTo>
                        <a:lnTo>
                          <a:pt x="199" y="217"/>
                        </a:lnTo>
                        <a:lnTo>
                          <a:pt x="201" y="206"/>
                        </a:lnTo>
                        <a:lnTo>
                          <a:pt x="202" y="194"/>
                        </a:lnTo>
                        <a:lnTo>
                          <a:pt x="204" y="184"/>
                        </a:lnTo>
                        <a:lnTo>
                          <a:pt x="206" y="176"/>
                        </a:lnTo>
                        <a:lnTo>
                          <a:pt x="207" y="173"/>
                        </a:lnTo>
                        <a:lnTo>
                          <a:pt x="208" y="170"/>
                        </a:lnTo>
                        <a:lnTo>
                          <a:pt x="210" y="168"/>
                        </a:lnTo>
                        <a:lnTo>
                          <a:pt x="212" y="167"/>
                        </a:lnTo>
                        <a:lnTo>
                          <a:pt x="220" y="171"/>
                        </a:lnTo>
                        <a:lnTo>
                          <a:pt x="229" y="175"/>
                        </a:lnTo>
                        <a:lnTo>
                          <a:pt x="239" y="178"/>
                        </a:lnTo>
                        <a:lnTo>
                          <a:pt x="245" y="179"/>
                        </a:lnTo>
                        <a:lnTo>
                          <a:pt x="245" y="201"/>
                        </a:lnTo>
                        <a:lnTo>
                          <a:pt x="245" y="219"/>
                        </a:lnTo>
                        <a:lnTo>
                          <a:pt x="245" y="238"/>
                        </a:lnTo>
                        <a:lnTo>
                          <a:pt x="245" y="259"/>
                        </a:lnTo>
                        <a:lnTo>
                          <a:pt x="246" y="265"/>
                        </a:lnTo>
                        <a:lnTo>
                          <a:pt x="246" y="270"/>
                        </a:lnTo>
                        <a:lnTo>
                          <a:pt x="247" y="274"/>
                        </a:lnTo>
                        <a:lnTo>
                          <a:pt x="250" y="278"/>
                        </a:lnTo>
                        <a:lnTo>
                          <a:pt x="252" y="281"/>
                        </a:lnTo>
                        <a:lnTo>
                          <a:pt x="254" y="284"/>
                        </a:lnTo>
                        <a:lnTo>
                          <a:pt x="256" y="287"/>
                        </a:lnTo>
                        <a:lnTo>
                          <a:pt x="260" y="289"/>
                        </a:lnTo>
                        <a:lnTo>
                          <a:pt x="267" y="292"/>
                        </a:lnTo>
                        <a:lnTo>
                          <a:pt x="276" y="294"/>
                        </a:lnTo>
                        <a:lnTo>
                          <a:pt x="287" y="295"/>
                        </a:lnTo>
                        <a:lnTo>
                          <a:pt x="299" y="296"/>
                        </a:lnTo>
                        <a:lnTo>
                          <a:pt x="303" y="295"/>
                        </a:lnTo>
                        <a:lnTo>
                          <a:pt x="308" y="295"/>
                        </a:lnTo>
                        <a:lnTo>
                          <a:pt x="312" y="293"/>
                        </a:lnTo>
                        <a:lnTo>
                          <a:pt x="316" y="291"/>
                        </a:lnTo>
                        <a:lnTo>
                          <a:pt x="322" y="286"/>
                        </a:lnTo>
                        <a:lnTo>
                          <a:pt x="329" y="280"/>
                        </a:lnTo>
                        <a:lnTo>
                          <a:pt x="333" y="272"/>
                        </a:lnTo>
                        <a:lnTo>
                          <a:pt x="337" y="263"/>
                        </a:lnTo>
                        <a:lnTo>
                          <a:pt x="342" y="254"/>
                        </a:lnTo>
                        <a:lnTo>
                          <a:pt x="345" y="243"/>
                        </a:lnTo>
                        <a:lnTo>
                          <a:pt x="350" y="234"/>
                        </a:lnTo>
                        <a:lnTo>
                          <a:pt x="353" y="224"/>
                        </a:lnTo>
                        <a:lnTo>
                          <a:pt x="357" y="216"/>
                        </a:lnTo>
                        <a:lnTo>
                          <a:pt x="363" y="208"/>
                        </a:lnTo>
                        <a:lnTo>
                          <a:pt x="368" y="201"/>
                        </a:lnTo>
                        <a:lnTo>
                          <a:pt x="375" y="195"/>
                        </a:lnTo>
                        <a:lnTo>
                          <a:pt x="378" y="193"/>
                        </a:lnTo>
                        <a:lnTo>
                          <a:pt x="382" y="192"/>
                        </a:lnTo>
                        <a:lnTo>
                          <a:pt x="387" y="191"/>
                        </a:lnTo>
                        <a:lnTo>
                          <a:pt x="392" y="191"/>
                        </a:lnTo>
                        <a:lnTo>
                          <a:pt x="400" y="191"/>
                        </a:lnTo>
                        <a:lnTo>
                          <a:pt x="408" y="192"/>
                        </a:lnTo>
                        <a:lnTo>
                          <a:pt x="414" y="193"/>
                        </a:lnTo>
                        <a:lnTo>
                          <a:pt x="421" y="195"/>
                        </a:lnTo>
                        <a:lnTo>
                          <a:pt x="431" y="200"/>
                        </a:lnTo>
                        <a:lnTo>
                          <a:pt x="441" y="204"/>
                        </a:lnTo>
                        <a:lnTo>
                          <a:pt x="451" y="208"/>
                        </a:lnTo>
                        <a:lnTo>
                          <a:pt x="460" y="212"/>
                        </a:lnTo>
                        <a:lnTo>
                          <a:pt x="466" y="214"/>
                        </a:lnTo>
                        <a:lnTo>
                          <a:pt x="471" y="215"/>
                        </a:lnTo>
                        <a:lnTo>
                          <a:pt x="478" y="216"/>
                        </a:lnTo>
                        <a:lnTo>
                          <a:pt x="485" y="216"/>
                        </a:lnTo>
                        <a:lnTo>
                          <a:pt x="496" y="216"/>
                        </a:lnTo>
                        <a:lnTo>
                          <a:pt x="504" y="215"/>
                        </a:lnTo>
                        <a:lnTo>
                          <a:pt x="512" y="213"/>
                        </a:lnTo>
                        <a:lnTo>
                          <a:pt x="518" y="211"/>
                        </a:lnTo>
                        <a:lnTo>
                          <a:pt x="523" y="208"/>
                        </a:lnTo>
                        <a:lnTo>
                          <a:pt x="527" y="204"/>
                        </a:lnTo>
                        <a:lnTo>
                          <a:pt x="531" y="200"/>
                        </a:lnTo>
                        <a:lnTo>
                          <a:pt x="534" y="194"/>
                        </a:lnTo>
                        <a:lnTo>
                          <a:pt x="544" y="169"/>
                        </a:lnTo>
                        <a:lnTo>
                          <a:pt x="558" y="135"/>
                        </a:lnTo>
                        <a:lnTo>
                          <a:pt x="564" y="127"/>
                        </a:lnTo>
                        <a:lnTo>
                          <a:pt x="572" y="119"/>
                        </a:lnTo>
                        <a:lnTo>
                          <a:pt x="582" y="110"/>
                        </a:lnTo>
                        <a:lnTo>
                          <a:pt x="593" y="100"/>
                        </a:lnTo>
                        <a:lnTo>
                          <a:pt x="620" y="80"/>
                        </a:lnTo>
                        <a:lnTo>
                          <a:pt x="649" y="61"/>
                        </a:lnTo>
                        <a:lnTo>
                          <a:pt x="679" y="43"/>
                        </a:lnTo>
                        <a:lnTo>
                          <a:pt x="708" y="25"/>
                        </a:lnTo>
                        <a:lnTo>
                          <a:pt x="732" y="11"/>
                        </a:lnTo>
                        <a:lnTo>
                          <a:pt x="750" y="0"/>
                        </a:lnTo>
                        <a:lnTo>
                          <a:pt x="777" y="1"/>
                        </a:lnTo>
                        <a:lnTo>
                          <a:pt x="798" y="3"/>
                        </a:lnTo>
                        <a:lnTo>
                          <a:pt x="806" y="3"/>
                        </a:lnTo>
                        <a:lnTo>
                          <a:pt x="815" y="3"/>
                        </a:lnTo>
                        <a:lnTo>
                          <a:pt x="823" y="2"/>
                        </a:lnTo>
                        <a:lnTo>
                          <a:pt x="830" y="0"/>
                        </a:lnTo>
                        <a:lnTo>
                          <a:pt x="830" y="6"/>
                        </a:lnTo>
                        <a:lnTo>
                          <a:pt x="850" y="6"/>
                        </a:lnTo>
                        <a:lnTo>
                          <a:pt x="850" y="17"/>
                        </a:lnTo>
                        <a:lnTo>
                          <a:pt x="851" y="26"/>
                        </a:lnTo>
                        <a:lnTo>
                          <a:pt x="854" y="35"/>
                        </a:lnTo>
                        <a:lnTo>
                          <a:pt x="856" y="41"/>
                        </a:lnTo>
                        <a:lnTo>
                          <a:pt x="861" y="52"/>
                        </a:lnTo>
                        <a:lnTo>
                          <a:pt x="867" y="62"/>
                        </a:lnTo>
                        <a:lnTo>
                          <a:pt x="873" y="71"/>
                        </a:lnTo>
                        <a:lnTo>
                          <a:pt x="879" y="82"/>
                        </a:lnTo>
                        <a:lnTo>
                          <a:pt x="880" y="90"/>
                        </a:lnTo>
                        <a:lnTo>
                          <a:pt x="882" y="98"/>
                        </a:lnTo>
                        <a:lnTo>
                          <a:pt x="883" y="107"/>
                        </a:lnTo>
                        <a:lnTo>
                          <a:pt x="883" y="117"/>
                        </a:lnTo>
                        <a:lnTo>
                          <a:pt x="883" y="204"/>
                        </a:lnTo>
                        <a:lnTo>
                          <a:pt x="875" y="206"/>
                        </a:lnTo>
                        <a:lnTo>
                          <a:pt x="868" y="207"/>
                        </a:lnTo>
                        <a:lnTo>
                          <a:pt x="860" y="207"/>
                        </a:lnTo>
                        <a:lnTo>
                          <a:pt x="852" y="206"/>
                        </a:lnTo>
                        <a:lnTo>
                          <a:pt x="838" y="205"/>
                        </a:lnTo>
                        <a:lnTo>
                          <a:pt x="830" y="204"/>
                        </a:lnTo>
                        <a:lnTo>
                          <a:pt x="826" y="236"/>
                        </a:lnTo>
                        <a:lnTo>
                          <a:pt x="825" y="262"/>
                        </a:lnTo>
                        <a:lnTo>
                          <a:pt x="826" y="272"/>
                        </a:lnTo>
                        <a:lnTo>
                          <a:pt x="826" y="281"/>
                        </a:lnTo>
                        <a:lnTo>
                          <a:pt x="828" y="289"/>
                        </a:lnTo>
                        <a:lnTo>
                          <a:pt x="830" y="296"/>
                        </a:lnTo>
                        <a:lnTo>
                          <a:pt x="870" y="296"/>
                        </a:lnTo>
                      </a:path>
                    </a:pathLst>
                  </a:custGeom>
                  <a:solidFill>
                    <a:schemeClr val="tx1">
                      <a:lumMod val="50000"/>
                      <a:lumOff val="50000"/>
                    </a:schemeClr>
                  </a:solidFill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804" name="Freeform 383">
                    <a:hlinkClick r:id="rId57" action="ppaction://hlinkpres?slideindex=1&amp;slidetitle=" tooltip="Sudan &amp; South Sudan"/>
                  </p:cNvPr>
                  <p:cNvSpPr>
                    <a:spLocks/>
                  </p:cNvSpPr>
                  <p:nvPr>
                    <p:custDataLst>
                      <p:tags r:id="rId35"/>
                    </p:custDataLst>
                  </p:nvPr>
                </p:nvSpPr>
                <p:spPr bwMode="auto">
                  <a:xfrm>
                    <a:off x="5286380" y="1836274"/>
                    <a:ext cx="1305823" cy="1443909"/>
                  </a:xfrm>
                  <a:custGeom>
                    <a:avLst/>
                    <a:gdLst>
                      <a:gd name="T0" fmla="*/ 2147483647 w 943"/>
                      <a:gd name="T1" fmla="*/ 2147483647 h 1172"/>
                      <a:gd name="T2" fmla="*/ 2147483647 w 943"/>
                      <a:gd name="T3" fmla="*/ 2147483647 h 1172"/>
                      <a:gd name="T4" fmla="*/ 2147483647 w 943"/>
                      <a:gd name="T5" fmla="*/ 2147483647 h 1172"/>
                      <a:gd name="T6" fmla="*/ 2147483647 w 943"/>
                      <a:gd name="T7" fmla="*/ 2147483647 h 1172"/>
                      <a:gd name="T8" fmla="*/ 2147483647 w 943"/>
                      <a:gd name="T9" fmla="*/ 2147483647 h 1172"/>
                      <a:gd name="T10" fmla="*/ 2147483647 w 943"/>
                      <a:gd name="T11" fmla="*/ 2147483647 h 1172"/>
                      <a:gd name="T12" fmla="*/ 2147483647 w 943"/>
                      <a:gd name="T13" fmla="*/ 2147483647 h 1172"/>
                      <a:gd name="T14" fmla="*/ 2147483647 w 943"/>
                      <a:gd name="T15" fmla="*/ 2147483647 h 1172"/>
                      <a:gd name="T16" fmla="*/ 2147483647 w 943"/>
                      <a:gd name="T17" fmla="*/ 2147483647 h 1172"/>
                      <a:gd name="T18" fmla="*/ 2147483647 w 943"/>
                      <a:gd name="T19" fmla="*/ 2147483647 h 1172"/>
                      <a:gd name="T20" fmla="*/ 2147483647 w 943"/>
                      <a:gd name="T21" fmla="*/ 2147483647 h 1172"/>
                      <a:gd name="T22" fmla="*/ 2147483647 w 943"/>
                      <a:gd name="T23" fmla="*/ 2147483647 h 1172"/>
                      <a:gd name="T24" fmla="*/ 2147483647 w 943"/>
                      <a:gd name="T25" fmla="*/ 2147483647 h 1172"/>
                      <a:gd name="T26" fmla="*/ 2147483647 w 943"/>
                      <a:gd name="T27" fmla="*/ 2147483647 h 1172"/>
                      <a:gd name="T28" fmla="*/ 2147483647 w 943"/>
                      <a:gd name="T29" fmla="*/ 2147483647 h 1172"/>
                      <a:gd name="T30" fmla="*/ 2147483647 w 943"/>
                      <a:gd name="T31" fmla="*/ 2147483647 h 1172"/>
                      <a:gd name="T32" fmla="*/ 2147483647 w 943"/>
                      <a:gd name="T33" fmla="*/ 2147483647 h 1172"/>
                      <a:gd name="T34" fmla="*/ 2147483647 w 943"/>
                      <a:gd name="T35" fmla="*/ 2147483647 h 1172"/>
                      <a:gd name="T36" fmla="*/ 2147483647 w 943"/>
                      <a:gd name="T37" fmla="*/ 2147483647 h 1172"/>
                      <a:gd name="T38" fmla="*/ 2147483647 w 943"/>
                      <a:gd name="T39" fmla="*/ 2147483647 h 1172"/>
                      <a:gd name="T40" fmla="*/ 2147483647 w 943"/>
                      <a:gd name="T41" fmla="*/ 2147483647 h 1172"/>
                      <a:gd name="T42" fmla="*/ 2147483647 w 943"/>
                      <a:gd name="T43" fmla="*/ 2147483647 h 1172"/>
                      <a:gd name="T44" fmla="*/ 2147483647 w 943"/>
                      <a:gd name="T45" fmla="*/ 2147483647 h 1172"/>
                      <a:gd name="T46" fmla="*/ 2147483647 w 943"/>
                      <a:gd name="T47" fmla="*/ 2147483647 h 1172"/>
                      <a:gd name="T48" fmla="*/ 2147483647 w 943"/>
                      <a:gd name="T49" fmla="*/ 2147483647 h 1172"/>
                      <a:gd name="T50" fmla="*/ 2147483647 w 943"/>
                      <a:gd name="T51" fmla="*/ 2147483647 h 1172"/>
                      <a:gd name="T52" fmla="*/ 2147483647 w 943"/>
                      <a:gd name="T53" fmla="*/ 2147483647 h 1172"/>
                      <a:gd name="T54" fmla="*/ 2147483647 w 943"/>
                      <a:gd name="T55" fmla="*/ 2147483647 h 1172"/>
                      <a:gd name="T56" fmla="*/ 2147483647 w 943"/>
                      <a:gd name="T57" fmla="*/ 2147483647 h 1172"/>
                      <a:gd name="T58" fmla="*/ 2147483647 w 943"/>
                      <a:gd name="T59" fmla="*/ 2147483647 h 1172"/>
                      <a:gd name="T60" fmla="*/ 2147483647 w 943"/>
                      <a:gd name="T61" fmla="*/ 2147483647 h 1172"/>
                      <a:gd name="T62" fmla="*/ 2147483647 w 943"/>
                      <a:gd name="T63" fmla="*/ 2147483647 h 1172"/>
                      <a:gd name="T64" fmla="*/ 2147483647 w 943"/>
                      <a:gd name="T65" fmla="*/ 2147483647 h 1172"/>
                      <a:gd name="T66" fmla="*/ 2147483647 w 943"/>
                      <a:gd name="T67" fmla="*/ 2147483647 h 1172"/>
                      <a:gd name="T68" fmla="*/ 2147483647 w 943"/>
                      <a:gd name="T69" fmla="*/ 2147483647 h 1172"/>
                      <a:gd name="T70" fmla="*/ 2147483647 w 943"/>
                      <a:gd name="T71" fmla="*/ 2147483647 h 1172"/>
                      <a:gd name="T72" fmla="*/ 2147483647 w 943"/>
                      <a:gd name="T73" fmla="*/ 2147483647 h 1172"/>
                      <a:gd name="T74" fmla="*/ 2147483647 w 943"/>
                      <a:gd name="T75" fmla="*/ 2147483647 h 1172"/>
                      <a:gd name="T76" fmla="*/ 2147483647 w 943"/>
                      <a:gd name="T77" fmla="*/ 2147483647 h 1172"/>
                      <a:gd name="T78" fmla="*/ 2147483647 w 943"/>
                      <a:gd name="T79" fmla="*/ 2147483647 h 1172"/>
                      <a:gd name="T80" fmla="*/ 2147483647 w 943"/>
                      <a:gd name="T81" fmla="*/ 2147483647 h 1172"/>
                      <a:gd name="T82" fmla="*/ 2147483647 w 943"/>
                      <a:gd name="T83" fmla="*/ 2147483647 h 1172"/>
                      <a:gd name="T84" fmla="*/ 2147483647 w 943"/>
                      <a:gd name="T85" fmla="*/ 2147483647 h 1172"/>
                      <a:gd name="T86" fmla="*/ 2147483647 w 943"/>
                      <a:gd name="T87" fmla="*/ 2147483647 h 1172"/>
                      <a:gd name="T88" fmla="*/ 2147483647 w 943"/>
                      <a:gd name="T89" fmla="*/ 2147483647 h 1172"/>
                      <a:gd name="T90" fmla="*/ 2147483647 w 943"/>
                      <a:gd name="T91" fmla="*/ 2147483647 h 1172"/>
                      <a:gd name="T92" fmla="*/ 2147483647 w 943"/>
                      <a:gd name="T93" fmla="*/ 2147483647 h 1172"/>
                      <a:gd name="T94" fmla="*/ 2147483647 w 943"/>
                      <a:gd name="T95" fmla="*/ 2147483647 h 1172"/>
                      <a:gd name="T96" fmla="*/ 2147483647 w 943"/>
                      <a:gd name="T97" fmla="*/ 2147483647 h 1172"/>
                      <a:gd name="T98" fmla="*/ 2147483647 w 943"/>
                      <a:gd name="T99" fmla="*/ 2147483647 h 1172"/>
                      <a:gd name="T100" fmla="*/ 2147483647 w 943"/>
                      <a:gd name="T101" fmla="*/ 2147483647 h 1172"/>
                      <a:gd name="T102" fmla="*/ 2147483647 w 943"/>
                      <a:gd name="T103" fmla="*/ 2147483647 h 1172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943"/>
                      <a:gd name="T157" fmla="*/ 0 h 1172"/>
                      <a:gd name="T158" fmla="*/ 943 w 943"/>
                      <a:gd name="T159" fmla="*/ 1172 h 1172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943" h="1172">
                        <a:moveTo>
                          <a:pt x="711" y="30"/>
                        </a:moveTo>
                        <a:lnTo>
                          <a:pt x="715" y="25"/>
                        </a:lnTo>
                        <a:lnTo>
                          <a:pt x="728" y="15"/>
                        </a:lnTo>
                        <a:lnTo>
                          <a:pt x="735" y="9"/>
                        </a:lnTo>
                        <a:lnTo>
                          <a:pt x="742" y="5"/>
                        </a:lnTo>
                        <a:lnTo>
                          <a:pt x="747" y="1"/>
                        </a:lnTo>
                        <a:lnTo>
                          <a:pt x="751" y="0"/>
                        </a:lnTo>
                        <a:lnTo>
                          <a:pt x="755" y="10"/>
                        </a:lnTo>
                        <a:lnTo>
                          <a:pt x="759" y="17"/>
                        </a:lnTo>
                        <a:lnTo>
                          <a:pt x="765" y="23"/>
                        </a:lnTo>
                        <a:lnTo>
                          <a:pt x="769" y="26"/>
                        </a:lnTo>
                        <a:lnTo>
                          <a:pt x="776" y="28"/>
                        </a:lnTo>
                        <a:lnTo>
                          <a:pt x="784" y="30"/>
                        </a:lnTo>
                        <a:lnTo>
                          <a:pt x="792" y="30"/>
                        </a:lnTo>
                        <a:lnTo>
                          <a:pt x="803" y="30"/>
                        </a:lnTo>
                        <a:lnTo>
                          <a:pt x="804" y="40"/>
                        </a:lnTo>
                        <a:lnTo>
                          <a:pt x="808" y="48"/>
                        </a:lnTo>
                        <a:lnTo>
                          <a:pt x="810" y="51"/>
                        </a:lnTo>
                        <a:lnTo>
                          <a:pt x="812" y="53"/>
                        </a:lnTo>
                        <a:lnTo>
                          <a:pt x="814" y="55"/>
                        </a:lnTo>
                        <a:lnTo>
                          <a:pt x="816" y="55"/>
                        </a:lnTo>
                        <a:lnTo>
                          <a:pt x="823" y="76"/>
                        </a:lnTo>
                        <a:lnTo>
                          <a:pt x="830" y="94"/>
                        </a:lnTo>
                        <a:lnTo>
                          <a:pt x="832" y="102"/>
                        </a:lnTo>
                        <a:lnTo>
                          <a:pt x="835" y="109"/>
                        </a:lnTo>
                        <a:lnTo>
                          <a:pt x="836" y="116"/>
                        </a:lnTo>
                        <a:lnTo>
                          <a:pt x="837" y="123"/>
                        </a:lnTo>
                        <a:lnTo>
                          <a:pt x="836" y="150"/>
                        </a:lnTo>
                        <a:lnTo>
                          <a:pt x="836" y="175"/>
                        </a:lnTo>
                        <a:lnTo>
                          <a:pt x="837" y="187"/>
                        </a:lnTo>
                        <a:lnTo>
                          <a:pt x="838" y="200"/>
                        </a:lnTo>
                        <a:lnTo>
                          <a:pt x="842" y="211"/>
                        </a:lnTo>
                        <a:lnTo>
                          <a:pt x="845" y="222"/>
                        </a:lnTo>
                        <a:lnTo>
                          <a:pt x="851" y="232"/>
                        </a:lnTo>
                        <a:lnTo>
                          <a:pt x="857" y="243"/>
                        </a:lnTo>
                        <a:lnTo>
                          <a:pt x="866" y="253"/>
                        </a:lnTo>
                        <a:lnTo>
                          <a:pt x="876" y="264"/>
                        </a:lnTo>
                        <a:lnTo>
                          <a:pt x="889" y="273"/>
                        </a:lnTo>
                        <a:lnTo>
                          <a:pt x="904" y="283"/>
                        </a:lnTo>
                        <a:lnTo>
                          <a:pt x="922" y="292"/>
                        </a:lnTo>
                        <a:lnTo>
                          <a:pt x="943" y="301"/>
                        </a:lnTo>
                        <a:lnTo>
                          <a:pt x="928" y="314"/>
                        </a:lnTo>
                        <a:lnTo>
                          <a:pt x="913" y="328"/>
                        </a:lnTo>
                        <a:lnTo>
                          <a:pt x="896" y="344"/>
                        </a:lnTo>
                        <a:lnTo>
                          <a:pt x="879" y="361"/>
                        </a:lnTo>
                        <a:lnTo>
                          <a:pt x="871" y="370"/>
                        </a:lnTo>
                        <a:lnTo>
                          <a:pt x="865" y="380"/>
                        </a:lnTo>
                        <a:lnTo>
                          <a:pt x="859" y="389"/>
                        </a:lnTo>
                        <a:lnTo>
                          <a:pt x="854" y="399"/>
                        </a:lnTo>
                        <a:lnTo>
                          <a:pt x="851" y="410"/>
                        </a:lnTo>
                        <a:lnTo>
                          <a:pt x="849" y="420"/>
                        </a:lnTo>
                        <a:lnTo>
                          <a:pt x="848" y="432"/>
                        </a:lnTo>
                        <a:lnTo>
                          <a:pt x="851" y="443"/>
                        </a:lnTo>
                        <a:lnTo>
                          <a:pt x="830" y="616"/>
                        </a:lnTo>
                        <a:lnTo>
                          <a:pt x="809" y="635"/>
                        </a:lnTo>
                        <a:lnTo>
                          <a:pt x="787" y="652"/>
                        </a:lnTo>
                        <a:lnTo>
                          <a:pt x="782" y="658"/>
                        </a:lnTo>
                        <a:lnTo>
                          <a:pt x="778" y="663"/>
                        </a:lnTo>
                        <a:lnTo>
                          <a:pt x="774" y="670"/>
                        </a:lnTo>
                        <a:lnTo>
                          <a:pt x="770" y="677"/>
                        </a:lnTo>
                        <a:lnTo>
                          <a:pt x="767" y="686"/>
                        </a:lnTo>
                        <a:lnTo>
                          <a:pt x="766" y="696"/>
                        </a:lnTo>
                        <a:lnTo>
                          <a:pt x="764" y="708"/>
                        </a:lnTo>
                        <a:lnTo>
                          <a:pt x="764" y="721"/>
                        </a:lnTo>
                        <a:lnTo>
                          <a:pt x="763" y="721"/>
                        </a:lnTo>
                        <a:lnTo>
                          <a:pt x="758" y="721"/>
                        </a:lnTo>
                        <a:lnTo>
                          <a:pt x="755" y="723"/>
                        </a:lnTo>
                        <a:lnTo>
                          <a:pt x="752" y="726"/>
                        </a:lnTo>
                        <a:lnTo>
                          <a:pt x="748" y="730"/>
                        </a:lnTo>
                        <a:lnTo>
                          <a:pt x="745" y="735"/>
                        </a:lnTo>
                        <a:lnTo>
                          <a:pt x="741" y="743"/>
                        </a:lnTo>
                        <a:lnTo>
                          <a:pt x="736" y="752"/>
                        </a:lnTo>
                        <a:lnTo>
                          <a:pt x="732" y="766"/>
                        </a:lnTo>
                        <a:lnTo>
                          <a:pt x="728" y="780"/>
                        </a:lnTo>
                        <a:lnTo>
                          <a:pt x="723" y="798"/>
                        </a:lnTo>
                        <a:lnTo>
                          <a:pt x="719" y="821"/>
                        </a:lnTo>
                        <a:lnTo>
                          <a:pt x="714" y="845"/>
                        </a:lnTo>
                        <a:lnTo>
                          <a:pt x="711" y="875"/>
                        </a:lnTo>
                        <a:lnTo>
                          <a:pt x="701" y="875"/>
                        </a:lnTo>
                        <a:lnTo>
                          <a:pt x="692" y="877"/>
                        </a:lnTo>
                        <a:lnTo>
                          <a:pt x="684" y="880"/>
                        </a:lnTo>
                        <a:lnTo>
                          <a:pt x="677" y="884"/>
                        </a:lnTo>
                        <a:lnTo>
                          <a:pt x="670" y="890"/>
                        </a:lnTo>
                        <a:lnTo>
                          <a:pt x="665" y="896"/>
                        </a:lnTo>
                        <a:lnTo>
                          <a:pt x="662" y="903"/>
                        </a:lnTo>
                        <a:lnTo>
                          <a:pt x="659" y="910"/>
                        </a:lnTo>
                        <a:lnTo>
                          <a:pt x="658" y="917"/>
                        </a:lnTo>
                        <a:lnTo>
                          <a:pt x="658" y="924"/>
                        </a:lnTo>
                        <a:lnTo>
                          <a:pt x="661" y="929"/>
                        </a:lnTo>
                        <a:lnTo>
                          <a:pt x="664" y="934"/>
                        </a:lnTo>
                        <a:lnTo>
                          <a:pt x="666" y="936"/>
                        </a:lnTo>
                        <a:lnTo>
                          <a:pt x="669" y="937"/>
                        </a:lnTo>
                        <a:lnTo>
                          <a:pt x="673" y="938"/>
                        </a:lnTo>
                        <a:lnTo>
                          <a:pt x="677" y="939"/>
                        </a:lnTo>
                        <a:lnTo>
                          <a:pt x="686" y="939"/>
                        </a:lnTo>
                        <a:lnTo>
                          <a:pt x="697" y="936"/>
                        </a:lnTo>
                        <a:lnTo>
                          <a:pt x="700" y="941"/>
                        </a:lnTo>
                        <a:lnTo>
                          <a:pt x="702" y="944"/>
                        </a:lnTo>
                        <a:lnTo>
                          <a:pt x="706" y="947"/>
                        </a:lnTo>
                        <a:lnTo>
                          <a:pt x="709" y="950"/>
                        </a:lnTo>
                        <a:lnTo>
                          <a:pt x="717" y="955"/>
                        </a:lnTo>
                        <a:lnTo>
                          <a:pt x="724" y="958"/>
                        </a:lnTo>
                        <a:lnTo>
                          <a:pt x="731" y="963"/>
                        </a:lnTo>
                        <a:lnTo>
                          <a:pt x="739" y="968"/>
                        </a:lnTo>
                        <a:lnTo>
                          <a:pt x="742" y="971"/>
                        </a:lnTo>
                        <a:lnTo>
                          <a:pt x="745" y="975"/>
                        </a:lnTo>
                        <a:lnTo>
                          <a:pt x="747" y="981"/>
                        </a:lnTo>
                        <a:lnTo>
                          <a:pt x="751" y="986"/>
                        </a:lnTo>
                        <a:lnTo>
                          <a:pt x="753" y="996"/>
                        </a:lnTo>
                        <a:lnTo>
                          <a:pt x="756" y="1007"/>
                        </a:lnTo>
                        <a:lnTo>
                          <a:pt x="759" y="1018"/>
                        </a:lnTo>
                        <a:lnTo>
                          <a:pt x="765" y="1028"/>
                        </a:lnTo>
                        <a:lnTo>
                          <a:pt x="767" y="1033"/>
                        </a:lnTo>
                        <a:lnTo>
                          <a:pt x="771" y="1039"/>
                        </a:lnTo>
                        <a:lnTo>
                          <a:pt x="775" y="1043"/>
                        </a:lnTo>
                        <a:lnTo>
                          <a:pt x="779" y="1046"/>
                        </a:lnTo>
                        <a:lnTo>
                          <a:pt x="785" y="1049"/>
                        </a:lnTo>
                        <a:lnTo>
                          <a:pt x="790" y="1052"/>
                        </a:lnTo>
                        <a:lnTo>
                          <a:pt x="797" y="1053"/>
                        </a:lnTo>
                        <a:lnTo>
                          <a:pt x="803" y="1053"/>
                        </a:lnTo>
                        <a:lnTo>
                          <a:pt x="810" y="1063"/>
                        </a:lnTo>
                        <a:lnTo>
                          <a:pt x="814" y="1071"/>
                        </a:lnTo>
                        <a:lnTo>
                          <a:pt x="815" y="1076"/>
                        </a:lnTo>
                        <a:lnTo>
                          <a:pt x="815" y="1081"/>
                        </a:lnTo>
                        <a:lnTo>
                          <a:pt x="809" y="1094"/>
                        </a:lnTo>
                        <a:lnTo>
                          <a:pt x="797" y="1115"/>
                        </a:lnTo>
                        <a:lnTo>
                          <a:pt x="776" y="1115"/>
                        </a:lnTo>
                        <a:lnTo>
                          <a:pt x="755" y="1115"/>
                        </a:lnTo>
                        <a:lnTo>
                          <a:pt x="734" y="1115"/>
                        </a:lnTo>
                        <a:lnTo>
                          <a:pt x="718" y="1115"/>
                        </a:lnTo>
                        <a:lnTo>
                          <a:pt x="718" y="1127"/>
                        </a:lnTo>
                        <a:lnTo>
                          <a:pt x="718" y="1139"/>
                        </a:lnTo>
                        <a:lnTo>
                          <a:pt x="711" y="1143"/>
                        </a:lnTo>
                        <a:lnTo>
                          <a:pt x="697" y="1152"/>
                        </a:lnTo>
                        <a:lnTo>
                          <a:pt x="687" y="1157"/>
                        </a:lnTo>
                        <a:lnTo>
                          <a:pt x="675" y="1161"/>
                        </a:lnTo>
                        <a:lnTo>
                          <a:pt x="663" y="1163"/>
                        </a:lnTo>
                        <a:lnTo>
                          <a:pt x="651" y="1164"/>
                        </a:lnTo>
                        <a:lnTo>
                          <a:pt x="628" y="1166"/>
                        </a:lnTo>
                        <a:lnTo>
                          <a:pt x="598" y="1170"/>
                        </a:lnTo>
                        <a:lnTo>
                          <a:pt x="583" y="1171"/>
                        </a:lnTo>
                        <a:lnTo>
                          <a:pt x="566" y="1172"/>
                        </a:lnTo>
                        <a:lnTo>
                          <a:pt x="549" y="1172"/>
                        </a:lnTo>
                        <a:lnTo>
                          <a:pt x="531" y="1170"/>
                        </a:lnTo>
                        <a:lnTo>
                          <a:pt x="515" y="1158"/>
                        </a:lnTo>
                        <a:lnTo>
                          <a:pt x="496" y="1141"/>
                        </a:lnTo>
                        <a:lnTo>
                          <a:pt x="486" y="1133"/>
                        </a:lnTo>
                        <a:lnTo>
                          <a:pt x="475" y="1127"/>
                        </a:lnTo>
                        <a:lnTo>
                          <a:pt x="470" y="1124"/>
                        </a:lnTo>
                        <a:lnTo>
                          <a:pt x="464" y="1123"/>
                        </a:lnTo>
                        <a:lnTo>
                          <a:pt x="457" y="1121"/>
                        </a:lnTo>
                        <a:lnTo>
                          <a:pt x="452" y="1121"/>
                        </a:lnTo>
                        <a:lnTo>
                          <a:pt x="432" y="1122"/>
                        </a:lnTo>
                        <a:lnTo>
                          <a:pt x="405" y="1124"/>
                        </a:lnTo>
                        <a:lnTo>
                          <a:pt x="390" y="1125"/>
                        </a:lnTo>
                        <a:lnTo>
                          <a:pt x="375" y="1126"/>
                        </a:lnTo>
                        <a:lnTo>
                          <a:pt x="360" y="1126"/>
                        </a:lnTo>
                        <a:lnTo>
                          <a:pt x="345" y="1125"/>
                        </a:lnTo>
                        <a:lnTo>
                          <a:pt x="331" y="1123"/>
                        </a:lnTo>
                        <a:lnTo>
                          <a:pt x="319" y="1120"/>
                        </a:lnTo>
                        <a:lnTo>
                          <a:pt x="314" y="1117"/>
                        </a:lnTo>
                        <a:lnTo>
                          <a:pt x="308" y="1115"/>
                        </a:lnTo>
                        <a:lnTo>
                          <a:pt x="304" y="1112"/>
                        </a:lnTo>
                        <a:lnTo>
                          <a:pt x="300" y="1108"/>
                        </a:lnTo>
                        <a:lnTo>
                          <a:pt x="297" y="1104"/>
                        </a:lnTo>
                        <a:lnTo>
                          <a:pt x="295" y="1100"/>
                        </a:lnTo>
                        <a:lnTo>
                          <a:pt x="293" y="1095"/>
                        </a:lnTo>
                        <a:lnTo>
                          <a:pt x="292" y="1088"/>
                        </a:lnTo>
                        <a:lnTo>
                          <a:pt x="293" y="1082"/>
                        </a:lnTo>
                        <a:lnTo>
                          <a:pt x="294" y="1075"/>
                        </a:lnTo>
                        <a:lnTo>
                          <a:pt x="295" y="1068"/>
                        </a:lnTo>
                        <a:lnTo>
                          <a:pt x="298" y="1060"/>
                        </a:lnTo>
                        <a:lnTo>
                          <a:pt x="291" y="1049"/>
                        </a:lnTo>
                        <a:lnTo>
                          <a:pt x="283" y="1039"/>
                        </a:lnTo>
                        <a:lnTo>
                          <a:pt x="274" y="1029"/>
                        </a:lnTo>
                        <a:lnTo>
                          <a:pt x="265" y="1021"/>
                        </a:lnTo>
                        <a:lnTo>
                          <a:pt x="248" y="1005"/>
                        </a:lnTo>
                        <a:lnTo>
                          <a:pt x="230" y="990"/>
                        </a:lnTo>
                        <a:lnTo>
                          <a:pt x="222" y="983"/>
                        </a:lnTo>
                        <a:lnTo>
                          <a:pt x="216" y="974"/>
                        </a:lnTo>
                        <a:lnTo>
                          <a:pt x="209" y="966"/>
                        </a:lnTo>
                        <a:lnTo>
                          <a:pt x="204" y="957"/>
                        </a:lnTo>
                        <a:lnTo>
                          <a:pt x="198" y="947"/>
                        </a:lnTo>
                        <a:lnTo>
                          <a:pt x="195" y="937"/>
                        </a:lnTo>
                        <a:lnTo>
                          <a:pt x="193" y="925"/>
                        </a:lnTo>
                        <a:lnTo>
                          <a:pt x="193" y="911"/>
                        </a:lnTo>
                        <a:lnTo>
                          <a:pt x="180" y="911"/>
                        </a:lnTo>
                        <a:lnTo>
                          <a:pt x="169" y="909"/>
                        </a:lnTo>
                        <a:lnTo>
                          <a:pt x="160" y="907"/>
                        </a:lnTo>
                        <a:lnTo>
                          <a:pt x="152" y="903"/>
                        </a:lnTo>
                        <a:lnTo>
                          <a:pt x="146" y="898"/>
                        </a:lnTo>
                        <a:lnTo>
                          <a:pt x="140" y="893"/>
                        </a:lnTo>
                        <a:lnTo>
                          <a:pt x="136" y="887"/>
                        </a:lnTo>
                        <a:lnTo>
                          <a:pt x="131" y="880"/>
                        </a:lnTo>
                        <a:lnTo>
                          <a:pt x="120" y="846"/>
                        </a:lnTo>
                        <a:lnTo>
                          <a:pt x="106" y="806"/>
                        </a:lnTo>
                        <a:lnTo>
                          <a:pt x="105" y="801"/>
                        </a:lnTo>
                        <a:lnTo>
                          <a:pt x="103" y="796"/>
                        </a:lnTo>
                        <a:lnTo>
                          <a:pt x="99" y="792"/>
                        </a:lnTo>
                        <a:lnTo>
                          <a:pt x="97" y="788"/>
                        </a:lnTo>
                        <a:lnTo>
                          <a:pt x="90" y="780"/>
                        </a:lnTo>
                        <a:lnTo>
                          <a:pt x="83" y="774"/>
                        </a:lnTo>
                        <a:lnTo>
                          <a:pt x="75" y="768"/>
                        </a:lnTo>
                        <a:lnTo>
                          <a:pt x="69" y="761"/>
                        </a:lnTo>
                        <a:lnTo>
                          <a:pt x="65" y="758"/>
                        </a:lnTo>
                        <a:lnTo>
                          <a:pt x="63" y="753"/>
                        </a:lnTo>
                        <a:lnTo>
                          <a:pt x="61" y="749"/>
                        </a:lnTo>
                        <a:lnTo>
                          <a:pt x="60" y="745"/>
                        </a:lnTo>
                        <a:lnTo>
                          <a:pt x="46" y="711"/>
                        </a:lnTo>
                        <a:lnTo>
                          <a:pt x="33" y="676"/>
                        </a:lnTo>
                        <a:lnTo>
                          <a:pt x="25" y="659"/>
                        </a:lnTo>
                        <a:lnTo>
                          <a:pt x="17" y="643"/>
                        </a:lnTo>
                        <a:lnTo>
                          <a:pt x="9" y="628"/>
                        </a:lnTo>
                        <a:lnTo>
                          <a:pt x="0" y="616"/>
                        </a:lnTo>
                        <a:lnTo>
                          <a:pt x="4" y="611"/>
                        </a:lnTo>
                        <a:lnTo>
                          <a:pt x="8" y="607"/>
                        </a:lnTo>
                        <a:lnTo>
                          <a:pt x="11" y="602"/>
                        </a:lnTo>
                        <a:lnTo>
                          <a:pt x="13" y="598"/>
                        </a:lnTo>
                        <a:lnTo>
                          <a:pt x="16" y="587"/>
                        </a:lnTo>
                        <a:lnTo>
                          <a:pt x="18" y="577"/>
                        </a:lnTo>
                        <a:lnTo>
                          <a:pt x="19" y="567"/>
                        </a:lnTo>
                        <a:lnTo>
                          <a:pt x="20" y="555"/>
                        </a:lnTo>
                        <a:lnTo>
                          <a:pt x="23" y="543"/>
                        </a:lnTo>
                        <a:lnTo>
                          <a:pt x="26" y="529"/>
                        </a:lnTo>
                        <a:lnTo>
                          <a:pt x="29" y="521"/>
                        </a:lnTo>
                        <a:lnTo>
                          <a:pt x="33" y="514"/>
                        </a:lnTo>
                        <a:lnTo>
                          <a:pt x="37" y="507"/>
                        </a:lnTo>
                        <a:lnTo>
                          <a:pt x="41" y="500"/>
                        </a:lnTo>
                        <a:lnTo>
                          <a:pt x="52" y="487"/>
                        </a:lnTo>
                        <a:lnTo>
                          <a:pt x="64" y="474"/>
                        </a:lnTo>
                        <a:lnTo>
                          <a:pt x="78" y="464"/>
                        </a:lnTo>
                        <a:lnTo>
                          <a:pt x="90" y="456"/>
                        </a:lnTo>
                        <a:lnTo>
                          <a:pt x="102" y="449"/>
                        </a:lnTo>
                        <a:lnTo>
                          <a:pt x="113" y="443"/>
                        </a:lnTo>
                        <a:lnTo>
                          <a:pt x="113" y="222"/>
                        </a:lnTo>
                        <a:lnTo>
                          <a:pt x="113" y="212"/>
                        </a:lnTo>
                        <a:lnTo>
                          <a:pt x="113" y="200"/>
                        </a:lnTo>
                        <a:lnTo>
                          <a:pt x="113" y="188"/>
                        </a:lnTo>
                        <a:lnTo>
                          <a:pt x="113" y="178"/>
                        </a:lnTo>
                        <a:lnTo>
                          <a:pt x="123" y="179"/>
                        </a:lnTo>
                        <a:lnTo>
                          <a:pt x="131" y="179"/>
                        </a:lnTo>
                        <a:lnTo>
                          <a:pt x="139" y="178"/>
                        </a:lnTo>
                        <a:lnTo>
                          <a:pt x="146" y="176"/>
                        </a:lnTo>
                        <a:lnTo>
                          <a:pt x="150" y="174"/>
                        </a:lnTo>
                        <a:lnTo>
                          <a:pt x="153" y="171"/>
                        </a:lnTo>
                        <a:lnTo>
                          <a:pt x="157" y="167"/>
                        </a:lnTo>
                        <a:lnTo>
                          <a:pt x="159" y="162"/>
                        </a:lnTo>
                        <a:lnTo>
                          <a:pt x="160" y="152"/>
                        </a:lnTo>
                        <a:lnTo>
                          <a:pt x="160" y="137"/>
                        </a:lnTo>
                        <a:lnTo>
                          <a:pt x="160" y="122"/>
                        </a:lnTo>
                        <a:lnTo>
                          <a:pt x="159" y="105"/>
                        </a:lnTo>
                        <a:lnTo>
                          <a:pt x="159" y="93"/>
                        </a:lnTo>
                        <a:lnTo>
                          <a:pt x="159" y="83"/>
                        </a:lnTo>
                        <a:lnTo>
                          <a:pt x="159" y="76"/>
                        </a:lnTo>
                        <a:lnTo>
                          <a:pt x="159" y="67"/>
                        </a:lnTo>
                        <a:lnTo>
                          <a:pt x="664" y="73"/>
                        </a:lnTo>
                        <a:lnTo>
                          <a:pt x="668" y="74"/>
                        </a:lnTo>
                        <a:lnTo>
                          <a:pt x="672" y="73"/>
                        </a:lnTo>
                        <a:lnTo>
                          <a:pt x="676" y="72"/>
                        </a:lnTo>
                        <a:lnTo>
                          <a:pt x="679" y="69"/>
                        </a:lnTo>
                        <a:lnTo>
                          <a:pt x="688" y="63"/>
                        </a:lnTo>
                        <a:lnTo>
                          <a:pt x="695" y="54"/>
                        </a:lnTo>
                        <a:lnTo>
                          <a:pt x="707" y="38"/>
                        </a:lnTo>
                        <a:lnTo>
                          <a:pt x="711" y="3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05" name="Freeform 434">
                    <a:hlinkClick r:id="rId57" action="ppaction://hlinkpres?slideindex=1&amp;slidetitle=" tooltip="Uganda"/>
                  </p:cNvPr>
                  <p:cNvSpPr>
                    <a:spLocks/>
                  </p:cNvSpPr>
                  <p:nvPr>
                    <p:custDataLst>
                      <p:tags r:id="rId36"/>
                    </p:custDataLst>
                  </p:nvPr>
                </p:nvSpPr>
                <p:spPr bwMode="auto">
                  <a:xfrm>
                    <a:off x="5784915" y="3225738"/>
                    <a:ext cx="535849" cy="478534"/>
                  </a:xfrm>
                  <a:custGeom>
                    <a:avLst/>
                    <a:gdLst>
                      <a:gd name="T0" fmla="*/ 2147483647 w 292"/>
                      <a:gd name="T1" fmla="*/ 2147483647 h 308"/>
                      <a:gd name="T2" fmla="*/ 2147483647 w 292"/>
                      <a:gd name="T3" fmla="*/ 2147483647 h 308"/>
                      <a:gd name="T4" fmla="*/ 2147483647 w 292"/>
                      <a:gd name="T5" fmla="*/ 2147483647 h 308"/>
                      <a:gd name="T6" fmla="*/ 2147483647 w 292"/>
                      <a:gd name="T7" fmla="*/ 2147483647 h 308"/>
                      <a:gd name="T8" fmla="*/ 2147483647 w 292"/>
                      <a:gd name="T9" fmla="*/ 2147483647 h 308"/>
                      <a:gd name="T10" fmla="*/ 2147483647 w 292"/>
                      <a:gd name="T11" fmla="*/ 2147483647 h 308"/>
                      <a:gd name="T12" fmla="*/ 2147483647 w 292"/>
                      <a:gd name="T13" fmla="*/ 2147483647 h 308"/>
                      <a:gd name="T14" fmla="*/ 2147483647 w 292"/>
                      <a:gd name="T15" fmla="*/ 2147483647 h 308"/>
                      <a:gd name="T16" fmla="*/ 2147483647 w 292"/>
                      <a:gd name="T17" fmla="*/ 2147483647 h 308"/>
                      <a:gd name="T18" fmla="*/ 2147483647 w 292"/>
                      <a:gd name="T19" fmla="*/ 2147483647 h 308"/>
                      <a:gd name="T20" fmla="*/ 2147483647 w 292"/>
                      <a:gd name="T21" fmla="*/ 2147483647 h 308"/>
                      <a:gd name="T22" fmla="*/ 2147483647 w 292"/>
                      <a:gd name="T23" fmla="*/ 2147483647 h 308"/>
                      <a:gd name="T24" fmla="*/ 2147483647 w 292"/>
                      <a:gd name="T25" fmla="*/ 2147483647 h 308"/>
                      <a:gd name="T26" fmla="*/ 2147483647 w 292"/>
                      <a:gd name="T27" fmla="*/ 2147483647 h 308"/>
                      <a:gd name="T28" fmla="*/ 2147483647 w 292"/>
                      <a:gd name="T29" fmla="*/ 2147483647 h 308"/>
                      <a:gd name="T30" fmla="*/ 2147483647 w 292"/>
                      <a:gd name="T31" fmla="*/ 2147483647 h 308"/>
                      <a:gd name="T32" fmla="*/ 2147483647 w 292"/>
                      <a:gd name="T33" fmla="*/ 2147483647 h 308"/>
                      <a:gd name="T34" fmla="*/ 0 w 292"/>
                      <a:gd name="T35" fmla="*/ 2147483647 h 308"/>
                      <a:gd name="T36" fmla="*/ 2147483647 w 292"/>
                      <a:gd name="T37" fmla="*/ 2147483647 h 308"/>
                      <a:gd name="T38" fmla="*/ 2147483647 w 292"/>
                      <a:gd name="T39" fmla="*/ 2147483647 h 308"/>
                      <a:gd name="T40" fmla="*/ 2147483647 w 292"/>
                      <a:gd name="T41" fmla="*/ 2147483647 h 308"/>
                      <a:gd name="T42" fmla="*/ 2147483647 w 292"/>
                      <a:gd name="T43" fmla="*/ 2147483647 h 308"/>
                      <a:gd name="T44" fmla="*/ 2147483647 w 292"/>
                      <a:gd name="T45" fmla="*/ 2147483647 h 308"/>
                      <a:gd name="T46" fmla="*/ 2147483647 w 292"/>
                      <a:gd name="T47" fmla="*/ 2147483647 h 308"/>
                      <a:gd name="T48" fmla="*/ 2147483647 w 292"/>
                      <a:gd name="T49" fmla="*/ 2147483647 h 308"/>
                      <a:gd name="T50" fmla="*/ 2147483647 w 292"/>
                      <a:gd name="T51" fmla="*/ 2147483647 h 308"/>
                      <a:gd name="T52" fmla="*/ 2147483647 w 292"/>
                      <a:gd name="T53" fmla="*/ 2147483647 h 308"/>
                      <a:gd name="T54" fmla="*/ 2147483647 w 292"/>
                      <a:gd name="T55" fmla="*/ 2147483647 h 308"/>
                      <a:gd name="T56" fmla="*/ 2147483647 w 292"/>
                      <a:gd name="T57" fmla="*/ 2147483647 h 308"/>
                      <a:gd name="T58" fmla="*/ 2147483647 w 292"/>
                      <a:gd name="T59" fmla="*/ 2147483647 h 308"/>
                      <a:gd name="T60" fmla="*/ 2147483647 w 292"/>
                      <a:gd name="T61" fmla="*/ 2147483647 h 308"/>
                      <a:gd name="T62" fmla="*/ 2147483647 w 292"/>
                      <a:gd name="T63" fmla="*/ 2147483647 h 308"/>
                      <a:gd name="T64" fmla="*/ 2147483647 w 292"/>
                      <a:gd name="T65" fmla="*/ 2147483647 h 308"/>
                      <a:gd name="T66" fmla="*/ 2147483647 w 292"/>
                      <a:gd name="T67" fmla="*/ 2147483647 h 308"/>
                      <a:gd name="T68" fmla="*/ 2147483647 w 292"/>
                      <a:gd name="T69" fmla="*/ 2147483647 h 308"/>
                      <a:gd name="T70" fmla="*/ 2147483647 w 292"/>
                      <a:gd name="T71" fmla="*/ 0 h 308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292"/>
                      <a:gd name="T109" fmla="*/ 0 h 308"/>
                      <a:gd name="T110" fmla="*/ 292 w 292"/>
                      <a:gd name="T111" fmla="*/ 308 h 308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292" h="308">
                        <a:moveTo>
                          <a:pt x="259" y="0"/>
                        </a:moveTo>
                        <a:lnTo>
                          <a:pt x="265" y="10"/>
                        </a:lnTo>
                        <a:lnTo>
                          <a:pt x="271" y="23"/>
                        </a:lnTo>
                        <a:lnTo>
                          <a:pt x="276" y="37"/>
                        </a:lnTo>
                        <a:lnTo>
                          <a:pt x="280" y="54"/>
                        </a:lnTo>
                        <a:lnTo>
                          <a:pt x="286" y="91"/>
                        </a:lnTo>
                        <a:lnTo>
                          <a:pt x="292" y="135"/>
                        </a:lnTo>
                        <a:lnTo>
                          <a:pt x="292" y="144"/>
                        </a:lnTo>
                        <a:lnTo>
                          <a:pt x="292" y="153"/>
                        </a:lnTo>
                        <a:lnTo>
                          <a:pt x="291" y="161"/>
                        </a:lnTo>
                        <a:lnTo>
                          <a:pt x="289" y="168"/>
                        </a:lnTo>
                        <a:lnTo>
                          <a:pt x="286" y="179"/>
                        </a:lnTo>
                        <a:lnTo>
                          <a:pt x="281" y="189"/>
                        </a:lnTo>
                        <a:lnTo>
                          <a:pt x="269" y="206"/>
                        </a:lnTo>
                        <a:lnTo>
                          <a:pt x="258" y="225"/>
                        </a:lnTo>
                        <a:lnTo>
                          <a:pt x="231" y="185"/>
                        </a:lnTo>
                        <a:lnTo>
                          <a:pt x="192" y="222"/>
                        </a:lnTo>
                        <a:lnTo>
                          <a:pt x="165" y="258"/>
                        </a:lnTo>
                        <a:lnTo>
                          <a:pt x="152" y="246"/>
                        </a:lnTo>
                        <a:lnTo>
                          <a:pt x="132" y="278"/>
                        </a:lnTo>
                        <a:lnTo>
                          <a:pt x="132" y="296"/>
                        </a:lnTo>
                        <a:lnTo>
                          <a:pt x="59" y="296"/>
                        </a:lnTo>
                        <a:lnTo>
                          <a:pt x="46" y="302"/>
                        </a:lnTo>
                        <a:lnTo>
                          <a:pt x="32" y="308"/>
                        </a:lnTo>
                        <a:lnTo>
                          <a:pt x="19" y="308"/>
                        </a:lnTo>
                        <a:lnTo>
                          <a:pt x="6" y="308"/>
                        </a:lnTo>
                        <a:lnTo>
                          <a:pt x="8" y="302"/>
                        </a:lnTo>
                        <a:lnTo>
                          <a:pt x="9" y="297"/>
                        </a:lnTo>
                        <a:lnTo>
                          <a:pt x="11" y="291"/>
                        </a:lnTo>
                        <a:lnTo>
                          <a:pt x="11" y="286"/>
                        </a:lnTo>
                        <a:lnTo>
                          <a:pt x="9" y="276"/>
                        </a:lnTo>
                        <a:lnTo>
                          <a:pt x="7" y="265"/>
                        </a:lnTo>
                        <a:lnTo>
                          <a:pt x="5" y="256"/>
                        </a:lnTo>
                        <a:lnTo>
                          <a:pt x="2" y="246"/>
                        </a:lnTo>
                        <a:lnTo>
                          <a:pt x="0" y="237"/>
                        </a:lnTo>
                        <a:lnTo>
                          <a:pt x="0" y="228"/>
                        </a:lnTo>
                        <a:lnTo>
                          <a:pt x="0" y="216"/>
                        </a:lnTo>
                        <a:lnTo>
                          <a:pt x="3" y="205"/>
                        </a:lnTo>
                        <a:lnTo>
                          <a:pt x="6" y="196"/>
                        </a:lnTo>
                        <a:lnTo>
                          <a:pt x="12" y="188"/>
                        </a:lnTo>
                        <a:lnTo>
                          <a:pt x="18" y="180"/>
                        </a:lnTo>
                        <a:lnTo>
                          <a:pt x="26" y="174"/>
                        </a:lnTo>
                        <a:lnTo>
                          <a:pt x="34" y="167"/>
                        </a:lnTo>
                        <a:lnTo>
                          <a:pt x="42" y="161"/>
                        </a:lnTo>
                        <a:lnTo>
                          <a:pt x="60" y="148"/>
                        </a:lnTo>
                        <a:lnTo>
                          <a:pt x="77" y="135"/>
                        </a:lnTo>
                        <a:lnTo>
                          <a:pt x="85" y="128"/>
                        </a:lnTo>
                        <a:lnTo>
                          <a:pt x="93" y="119"/>
                        </a:lnTo>
                        <a:lnTo>
                          <a:pt x="99" y="110"/>
                        </a:lnTo>
                        <a:lnTo>
                          <a:pt x="105" y="98"/>
                        </a:lnTo>
                        <a:lnTo>
                          <a:pt x="102" y="98"/>
                        </a:lnTo>
                        <a:lnTo>
                          <a:pt x="98" y="96"/>
                        </a:lnTo>
                        <a:lnTo>
                          <a:pt x="95" y="94"/>
                        </a:lnTo>
                        <a:lnTo>
                          <a:pt x="92" y="91"/>
                        </a:lnTo>
                        <a:lnTo>
                          <a:pt x="86" y="83"/>
                        </a:lnTo>
                        <a:lnTo>
                          <a:pt x="82" y="73"/>
                        </a:lnTo>
                        <a:lnTo>
                          <a:pt x="77" y="62"/>
                        </a:lnTo>
                        <a:lnTo>
                          <a:pt x="74" y="50"/>
                        </a:lnTo>
                        <a:lnTo>
                          <a:pt x="73" y="36"/>
                        </a:lnTo>
                        <a:lnTo>
                          <a:pt x="72" y="24"/>
                        </a:lnTo>
                        <a:lnTo>
                          <a:pt x="82" y="21"/>
                        </a:lnTo>
                        <a:lnTo>
                          <a:pt x="90" y="19"/>
                        </a:lnTo>
                        <a:lnTo>
                          <a:pt x="97" y="19"/>
                        </a:lnTo>
                        <a:lnTo>
                          <a:pt x="105" y="20"/>
                        </a:lnTo>
                        <a:lnTo>
                          <a:pt x="118" y="23"/>
                        </a:lnTo>
                        <a:lnTo>
                          <a:pt x="132" y="24"/>
                        </a:lnTo>
                        <a:lnTo>
                          <a:pt x="149" y="23"/>
                        </a:lnTo>
                        <a:lnTo>
                          <a:pt x="169" y="21"/>
                        </a:lnTo>
                        <a:lnTo>
                          <a:pt x="189" y="17"/>
                        </a:lnTo>
                        <a:lnTo>
                          <a:pt x="210" y="12"/>
                        </a:lnTo>
                        <a:lnTo>
                          <a:pt x="244" y="4"/>
                        </a:lnTo>
                        <a:lnTo>
                          <a:pt x="259" y="0"/>
                        </a:lnTo>
                      </a:path>
                    </a:pathLst>
                  </a:custGeom>
                  <a:solidFill>
                    <a:srgbClr val="0671BA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06" name="Freeform 435"/>
                  <p:cNvSpPr>
                    <a:spLocks/>
                  </p:cNvSpPr>
                  <p:nvPr>
                    <p:custDataLst>
                      <p:tags r:id="rId37"/>
                    </p:custDataLst>
                  </p:nvPr>
                </p:nvSpPr>
                <p:spPr bwMode="auto">
                  <a:xfrm>
                    <a:off x="6255220" y="3630022"/>
                    <a:ext cx="20167" cy="135015"/>
                  </a:xfrm>
                  <a:custGeom>
                    <a:avLst/>
                    <a:gdLst>
                      <a:gd name="T0" fmla="*/ 2147483647 w 14"/>
                      <a:gd name="T1" fmla="*/ 0 h 7"/>
                      <a:gd name="T2" fmla="*/ 2147483647 w 14"/>
                      <a:gd name="T3" fmla="*/ 2147483647 h 7"/>
                      <a:gd name="T4" fmla="*/ 2147483647 w 14"/>
                      <a:gd name="T5" fmla="*/ 2147483647 h 7"/>
                      <a:gd name="T6" fmla="*/ 0 w 14"/>
                      <a:gd name="T7" fmla="*/ 2147483647 h 7"/>
                      <a:gd name="T8" fmla="*/ 2147483647 w 14"/>
                      <a:gd name="T9" fmla="*/ 0 h 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"/>
                      <a:gd name="T16" fmla="*/ 0 h 7"/>
                      <a:gd name="T17" fmla="*/ 14 w 14"/>
                      <a:gd name="T18" fmla="*/ 7 h 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" h="7">
                        <a:moveTo>
                          <a:pt x="11" y="0"/>
                        </a:moveTo>
                        <a:lnTo>
                          <a:pt x="13" y="3"/>
                        </a:lnTo>
                        <a:lnTo>
                          <a:pt x="14" y="7"/>
                        </a:lnTo>
                        <a:lnTo>
                          <a:pt x="0" y="7"/>
                        </a:lnTo>
                        <a:lnTo>
                          <a:pt x="11" y="0"/>
                        </a:lnTo>
                      </a:path>
                    </a:pathLst>
                  </a:custGeom>
                  <a:solidFill>
                    <a:srgbClr val="C0C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6" name="Freeform 436"/>
                  <p:cNvSpPr>
                    <a:spLocks/>
                  </p:cNvSpPr>
                  <p:nvPr>
                    <p:custDataLst>
                      <p:tags r:id="rId38"/>
                    </p:custDataLst>
                  </p:nvPr>
                </p:nvSpPr>
                <p:spPr bwMode="auto">
                  <a:xfrm>
                    <a:off x="4637713" y="1825304"/>
                    <a:ext cx="791718" cy="1182602"/>
                  </a:xfrm>
                  <a:custGeom>
                    <a:avLst/>
                    <a:gdLst>
                      <a:gd name="T0" fmla="*/ 110355 w 581"/>
                      <a:gd name="T1" fmla="*/ 142260 h 955"/>
                      <a:gd name="T2" fmla="*/ 141690 w 581"/>
                      <a:gd name="T3" fmla="*/ 188031 h 955"/>
                      <a:gd name="T4" fmla="*/ 151227 w 581"/>
                      <a:gd name="T5" fmla="*/ 222669 h 955"/>
                      <a:gd name="T6" fmla="*/ 129429 w 581"/>
                      <a:gd name="T7" fmla="*/ 289469 h 955"/>
                      <a:gd name="T8" fmla="*/ 130791 w 581"/>
                      <a:gd name="T9" fmla="*/ 402040 h 955"/>
                      <a:gd name="T10" fmla="*/ 126704 w 581"/>
                      <a:gd name="T11" fmla="*/ 449048 h 955"/>
                      <a:gd name="T12" fmla="*/ 111717 w 581"/>
                      <a:gd name="T13" fmla="*/ 489871 h 955"/>
                      <a:gd name="T14" fmla="*/ 80382 w 581"/>
                      <a:gd name="T15" fmla="*/ 530693 h 955"/>
                      <a:gd name="T16" fmla="*/ 42235 w 581"/>
                      <a:gd name="T17" fmla="*/ 570279 h 955"/>
                      <a:gd name="T18" fmla="*/ 23161 w 581"/>
                      <a:gd name="T19" fmla="*/ 595020 h 955"/>
                      <a:gd name="T20" fmla="*/ 2725 w 581"/>
                      <a:gd name="T21" fmla="*/ 670480 h 955"/>
                      <a:gd name="T22" fmla="*/ 94006 w 581"/>
                      <a:gd name="T23" fmla="*/ 762021 h 955"/>
                      <a:gd name="T24" fmla="*/ 94006 w 581"/>
                      <a:gd name="T25" fmla="*/ 784288 h 955"/>
                      <a:gd name="T26" fmla="*/ 100818 w 581"/>
                      <a:gd name="T27" fmla="*/ 822636 h 955"/>
                      <a:gd name="T28" fmla="*/ 100818 w 581"/>
                      <a:gd name="T29" fmla="*/ 860985 h 955"/>
                      <a:gd name="T30" fmla="*/ 106268 w 581"/>
                      <a:gd name="T31" fmla="*/ 906756 h 955"/>
                      <a:gd name="T32" fmla="*/ 128066 w 581"/>
                      <a:gd name="T33" fmla="*/ 962423 h 955"/>
                      <a:gd name="T34" fmla="*/ 143053 w 581"/>
                      <a:gd name="T35" fmla="*/ 979741 h 955"/>
                      <a:gd name="T36" fmla="*/ 92644 w 581"/>
                      <a:gd name="T37" fmla="*/ 982215 h 955"/>
                      <a:gd name="T38" fmla="*/ 57221 w 581"/>
                      <a:gd name="T39" fmla="*/ 992112 h 955"/>
                      <a:gd name="T40" fmla="*/ 49047 w 581"/>
                      <a:gd name="T41" fmla="*/ 1004482 h 955"/>
                      <a:gd name="T42" fmla="*/ 57221 w 581"/>
                      <a:gd name="T43" fmla="*/ 1041594 h 955"/>
                      <a:gd name="T44" fmla="*/ 94006 w 581"/>
                      <a:gd name="T45" fmla="*/ 1083653 h 955"/>
                      <a:gd name="T46" fmla="*/ 118529 w 581"/>
                      <a:gd name="T47" fmla="*/ 1112105 h 955"/>
                      <a:gd name="T48" fmla="*/ 136241 w 581"/>
                      <a:gd name="T49" fmla="*/ 1146743 h 955"/>
                      <a:gd name="T50" fmla="*/ 212536 w 581"/>
                      <a:gd name="T51" fmla="*/ 1181380 h 955"/>
                      <a:gd name="T52" fmla="*/ 257495 w 581"/>
                      <a:gd name="T53" fmla="*/ 1165298 h 955"/>
                      <a:gd name="T54" fmla="*/ 337877 w 581"/>
                      <a:gd name="T55" fmla="*/ 1149217 h 955"/>
                      <a:gd name="T56" fmla="*/ 380112 w 581"/>
                      <a:gd name="T57" fmla="*/ 1139320 h 955"/>
                      <a:gd name="T58" fmla="*/ 404635 w 581"/>
                      <a:gd name="T59" fmla="*/ 1118291 h 955"/>
                      <a:gd name="T60" fmla="*/ 411447 w 581"/>
                      <a:gd name="T61" fmla="*/ 1103446 h 955"/>
                      <a:gd name="T62" fmla="*/ 411447 w 581"/>
                      <a:gd name="T63" fmla="*/ 1073757 h 955"/>
                      <a:gd name="T64" fmla="*/ 460494 w 581"/>
                      <a:gd name="T65" fmla="*/ 1077468 h 955"/>
                      <a:gd name="T66" fmla="*/ 500004 w 581"/>
                      <a:gd name="T67" fmla="*/ 1071283 h 955"/>
                      <a:gd name="T68" fmla="*/ 529977 w 581"/>
                      <a:gd name="T69" fmla="*/ 1058912 h 955"/>
                      <a:gd name="T70" fmla="*/ 551775 w 581"/>
                      <a:gd name="T71" fmla="*/ 1041594 h 955"/>
                      <a:gd name="T72" fmla="*/ 588560 w 581"/>
                      <a:gd name="T73" fmla="*/ 998297 h 955"/>
                      <a:gd name="T74" fmla="*/ 626708 w 581"/>
                      <a:gd name="T75" fmla="*/ 956237 h 955"/>
                      <a:gd name="T76" fmla="*/ 649868 w 581"/>
                      <a:gd name="T77" fmla="*/ 940156 h 955"/>
                      <a:gd name="T78" fmla="*/ 683929 w 581"/>
                      <a:gd name="T79" fmla="*/ 930259 h 955"/>
                      <a:gd name="T80" fmla="*/ 709815 w 581"/>
                      <a:gd name="T81" fmla="*/ 921600 h 955"/>
                      <a:gd name="T82" fmla="*/ 679841 w 581"/>
                      <a:gd name="T83" fmla="*/ 862222 h 955"/>
                      <a:gd name="T84" fmla="*/ 659405 w 581"/>
                      <a:gd name="T85" fmla="*/ 807792 h 955"/>
                      <a:gd name="T86" fmla="*/ 643056 w 581"/>
                      <a:gd name="T87" fmla="*/ 770680 h 955"/>
                      <a:gd name="T88" fmla="*/ 655318 w 581"/>
                      <a:gd name="T89" fmla="*/ 754599 h 955"/>
                      <a:gd name="T90" fmla="*/ 663493 w 581"/>
                      <a:gd name="T91" fmla="*/ 716250 h 955"/>
                      <a:gd name="T92" fmla="*/ 673029 w 581"/>
                      <a:gd name="T93" fmla="*/ 669243 h 955"/>
                      <a:gd name="T94" fmla="*/ 688016 w 581"/>
                      <a:gd name="T95" fmla="*/ 642028 h 955"/>
                      <a:gd name="T96" fmla="*/ 724801 w 581"/>
                      <a:gd name="T97" fmla="*/ 601205 h 955"/>
                      <a:gd name="T98" fmla="*/ 776573 w 581"/>
                      <a:gd name="T99" fmla="*/ 570279 h 955"/>
                      <a:gd name="T100" fmla="*/ 175751 w 581"/>
                      <a:gd name="T101" fmla="*/ 0 h 955"/>
                      <a:gd name="T102" fmla="*/ 133516 w 581"/>
                      <a:gd name="T103" fmla="*/ 6185 h 955"/>
                      <a:gd name="T104" fmla="*/ 94006 w 581"/>
                      <a:gd name="T105" fmla="*/ 29689 h 955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81"/>
                      <a:gd name="T160" fmla="*/ 0 h 955"/>
                      <a:gd name="T161" fmla="*/ 581 w 581"/>
                      <a:gd name="T162" fmla="*/ 955 h 955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81" h="955">
                        <a:moveTo>
                          <a:pt x="69" y="24"/>
                        </a:moveTo>
                        <a:lnTo>
                          <a:pt x="69" y="97"/>
                        </a:lnTo>
                        <a:lnTo>
                          <a:pt x="81" y="115"/>
                        </a:lnTo>
                        <a:lnTo>
                          <a:pt x="91" y="129"/>
                        </a:lnTo>
                        <a:lnTo>
                          <a:pt x="99" y="141"/>
                        </a:lnTo>
                        <a:lnTo>
                          <a:pt x="104" y="152"/>
                        </a:lnTo>
                        <a:lnTo>
                          <a:pt x="107" y="163"/>
                        </a:lnTo>
                        <a:lnTo>
                          <a:pt x="110" y="172"/>
                        </a:lnTo>
                        <a:lnTo>
                          <a:pt x="111" y="180"/>
                        </a:lnTo>
                        <a:lnTo>
                          <a:pt x="110" y="186"/>
                        </a:lnTo>
                        <a:lnTo>
                          <a:pt x="102" y="209"/>
                        </a:lnTo>
                        <a:lnTo>
                          <a:pt x="95" y="234"/>
                        </a:lnTo>
                        <a:lnTo>
                          <a:pt x="96" y="276"/>
                        </a:lnTo>
                        <a:lnTo>
                          <a:pt x="96" y="309"/>
                        </a:lnTo>
                        <a:lnTo>
                          <a:pt x="96" y="325"/>
                        </a:lnTo>
                        <a:lnTo>
                          <a:pt x="96" y="339"/>
                        </a:lnTo>
                        <a:lnTo>
                          <a:pt x="95" y="351"/>
                        </a:lnTo>
                        <a:lnTo>
                          <a:pt x="93" y="363"/>
                        </a:lnTo>
                        <a:lnTo>
                          <a:pt x="91" y="374"/>
                        </a:lnTo>
                        <a:lnTo>
                          <a:pt x="87" y="386"/>
                        </a:lnTo>
                        <a:lnTo>
                          <a:pt x="82" y="396"/>
                        </a:lnTo>
                        <a:lnTo>
                          <a:pt x="76" y="407"/>
                        </a:lnTo>
                        <a:lnTo>
                          <a:pt x="69" y="418"/>
                        </a:lnTo>
                        <a:lnTo>
                          <a:pt x="59" y="429"/>
                        </a:lnTo>
                        <a:lnTo>
                          <a:pt x="48" y="442"/>
                        </a:lnTo>
                        <a:lnTo>
                          <a:pt x="36" y="455"/>
                        </a:lnTo>
                        <a:lnTo>
                          <a:pt x="31" y="461"/>
                        </a:lnTo>
                        <a:lnTo>
                          <a:pt x="26" y="467"/>
                        </a:lnTo>
                        <a:lnTo>
                          <a:pt x="22" y="474"/>
                        </a:lnTo>
                        <a:lnTo>
                          <a:pt x="17" y="481"/>
                        </a:lnTo>
                        <a:lnTo>
                          <a:pt x="12" y="496"/>
                        </a:lnTo>
                        <a:lnTo>
                          <a:pt x="8" y="512"/>
                        </a:lnTo>
                        <a:lnTo>
                          <a:pt x="2" y="542"/>
                        </a:lnTo>
                        <a:lnTo>
                          <a:pt x="0" y="568"/>
                        </a:lnTo>
                        <a:lnTo>
                          <a:pt x="29" y="578"/>
                        </a:lnTo>
                        <a:lnTo>
                          <a:pt x="69" y="616"/>
                        </a:lnTo>
                        <a:lnTo>
                          <a:pt x="51" y="632"/>
                        </a:lnTo>
                        <a:lnTo>
                          <a:pt x="60" y="633"/>
                        </a:lnTo>
                        <a:lnTo>
                          <a:pt x="69" y="634"/>
                        </a:lnTo>
                        <a:lnTo>
                          <a:pt x="70" y="643"/>
                        </a:lnTo>
                        <a:lnTo>
                          <a:pt x="72" y="653"/>
                        </a:lnTo>
                        <a:lnTo>
                          <a:pt x="74" y="665"/>
                        </a:lnTo>
                        <a:lnTo>
                          <a:pt x="76" y="677"/>
                        </a:lnTo>
                        <a:lnTo>
                          <a:pt x="74" y="686"/>
                        </a:lnTo>
                        <a:lnTo>
                          <a:pt x="74" y="696"/>
                        </a:lnTo>
                        <a:lnTo>
                          <a:pt x="74" y="705"/>
                        </a:lnTo>
                        <a:lnTo>
                          <a:pt x="76" y="715"/>
                        </a:lnTo>
                        <a:lnTo>
                          <a:pt x="78" y="733"/>
                        </a:lnTo>
                        <a:lnTo>
                          <a:pt x="82" y="749"/>
                        </a:lnTo>
                        <a:lnTo>
                          <a:pt x="88" y="764"/>
                        </a:lnTo>
                        <a:lnTo>
                          <a:pt x="94" y="778"/>
                        </a:lnTo>
                        <a:lnTo>
                          <a:pt x="98" y="783"/>
                        </a:lnTo>
                        <a:lnTo>
                          <a:pt x="102" y="788"/>
                        </a:lnTo>
                        <a:lnTo>
                          <a:pt x="105" y="792"/>
                        </a:lnTo>
                        <a:lnTo>
                          <a:pt x="109" y="794"/>
                        </a:lnTo>
                        <a:lnTo>
                          <a:pt x="92" y="794"/>
                        </a:lnTo>
                        <a:lnTo>
                          <a:pt x="68" y="794"/>
                        </a:lnTo>
                        <a:lnTo>
                          <a:pt x="56" y="796"/>
                        </a:lnTo>
                        <a:lnTo>
                          <a:pt x="46" y="799"/>
                        </a:lnTo>
                        <a:lnTo>
                          <a:pt x="42" y="802"/>
                        </a:lnTo>
                        <a:lnTo>
                          <a:pt x="38" y="805"/>
                        </a:lnTo>
                        <a:lnTo>
                          <a:pt x="36" y="808"/>
                        </a:lnTo>
                        <a:lnTo>
                          <a:pt x="36" y="812"/>
                        </a:lnTo>
                        <a:lnTo>
                          <a:pt x="36" y="824"/>
                        </a:lnTo>
                        <a:lnTo>
                          <a:pt x="38" y="834"/>
                        </a:lnTo>
                        <a:lnTo>
                          <a:pt x="42" y="842"/>
                        </a:lnTo>
                        <a:lnTo>
                          <a:pt x="46" y="850"/>
                        </a:lnTo>
                        <a:lnTo>
                          <a:pt x="57" y="863"/>
                        </a:lnTo>
                        <a:lnTo>
                          <a:pt x="69" y="876"/>
                        </a:lnTo>
                        <a:lnTo>
                          <a:pt x="76" y="884"/>
                        </a:lnTo>
                        <a:lnTo>
                          <a:pt x="81" y="891"/>
                        </a:lnTo>
                        <a:lnTo>
                          <a:pt x="87" y="899"/>
                        </a:lnTo>
                        <a:lnTo>
                          <a:pt x="92" y="907"/>
                        </a:lnTo>
                        <a:lnTo>
                          <a:pt x="96" y="917"/>
                        </a:lnTo>
                        <a:lnTo>
                          <a:pt x="100" y="927"/>
                        </a:lnTo>
                        <a:lnTo>
                          <a:pt x="102" y="941"/>
                        </a:lnTo>
                        <a:lnTo>
                          <a:pt x="102" y="955"/>
                        </a:lnTo>
                        <a:lnTo>
                          <a:pt x="156" y="955"/>
                        </a:lnTo>
                        <a:lnTo>
                          <a:pt x="166" y="949"/>
                        </a:lnTo>
                        <a:lnTo>
                          <a:pt x="177" y="945"/>
                        </a:lnTo>
                        <a:lnTo>
                          <a:pt x="189" y="942"/>
                        </a:lnTo>
                        <a:lnTo>
                          <a:pt x="201" y="939"/>
                        </a:lnTo>
                        <a:lnTo>
                          <a:pt x="225" y="935"/>
                        </a:lnTo>
                        <a:lnTo>
                          <a:pt x="248" y="929"/>
                        </a:lnTo>
                        <a:lnTo>
                          <a:pt x="259" y="927"/>
                        </a:lnTo>
                        <a:lnTo>
                          <a:pt x="270" y="924"/>
                        </a:lnTo>
                        <a:lnTo>
                          <a:pt x="279" y="921"/>
                        </a:lnTo>
                        <a:lnTo>
                          <a:pt x="286" y="916"/>
                        </a:lnTo>
                        <a:lnTo>
                          <a:pt x="293" y="911"/>
                        </a:lnTo>
                        <a:lnTo>
                          <a:pt x="297" y="904"/>
                        </a:lnTo>
                        <a:lnTo>
                          <a:pt x="300" y="901"/>
                        </a:lnTo>
                        <a:lnTo>
                          <a:pt x="301" y="896"/>
                        </a:lnTo>
                        <a:lnTo>
                          <a:pt x="302" y="892"/>
                        </a:lnTo>
                        <a:lnTo>
                          <a:pt x="302" y="887"/>
                        </a:lnTo>
                        <a:lnTo>
                          <a:pt x="302" y="877"/>
                        </a:lnTo>
                        <a:lnTo>
                          <a:pt x="302" y="868"/>
                        </a:lnTo>
                        <a:lnTo>
                          <a:pt x="315" y="870"/>
                        </a:lnTo>
                        <a:lnTo>
                          <a:pt x="327" y="871"/>
                        </a:lnTo>
                        <a:lnTo>
                          <a:pt x="338" y="871"/>
                        </a:lnTo>
                        <a:lnTo>
                          <a:pt x="348" y="870"/>
                        </a:lnTo>
                        <a:lnTo>
                          <a:pt x="358" y="868"/>
                        </a:lnTo>
                        <a:lnTo>
                          <a:pt x="367" y="866"/>
                        </a:lnTo>
                        <a:lnTo>
                          <a:pt x="374" y="863"/>
                        </a:lnTo>
                        <a:lnTo>
                          <a:pt x="382" y="860"/>
                        </a:lnTo>
                        <a:lnTo>
                          <a:pt x="389" y="856"/>
                        </a:lnTo>
                        <a:lnTo>
                          <a:pt x="394" y="852"/>
                        </a:lnTo>
                        <a:lnTo>
                          <a:pt x="401" y="847"/>
                        </a:lnTo>
                        <a:lnTo>
                          <a:pt x="405" y="842"/>
                        </a:lnTo>
                        <a:lnTo>
                          <a:pt x="415" y="831"/>
                        </a:lnTo>
                        <a:lnTo>
                          <a:pt x="424" y="818"/>
                        </a:lnTo>
                        <a:lnTo>
                          <a:pt x="432" y="807"/>
                        </a:lnTo>
                        <a:lnTo>
                          <a:pt x="440" y="795"/>
                        </a:lnTo>
                        <a:lnTo>
                          <a:pt x="449" y="783"/>
                        </a:lnTo>
                        <a:lnTo>
                          <a:pt x="460" y="773"/>
                        </a:lnTo>
                        <a:lnTo>
                          <a:pt x="465" y="769"/>
                        </a:lnTo>
                        <a:lnTo>
                          <a:pt x="471" y="764"/>
                        </a:lnTo>
                        <a:lnTo>
                          <a:pt x="477" y="760"/>
                        </a:lnTo>
                        <a:lnTo>
                          <a:pt x="485" y="757"/>
                        </a:lnTo>
                        <a:lnTo>
                          <a:pt x="493" y="754"/>
                        </a:lnTo>
                        <a:lnTo>
                          <a:pt x="502" y="752"/>
                        </a:lnTo>
                        <a:lnTo>
                          <a:pt x="510" y="751"/>
                        </a:lnTo>
                        <a:lnTo>
                          <a:pt x="521" y="751"/>
                        </a:lnTo>
                        <a:lnTo>
                          <a:pt x="521" y="745"/>
                        </a:lnTo>
                        <a:lnTo>
                          <a:pt x="511" y="729"/>
                        </a:lnTo>
                        <a:lnTo>
                          <a:pt x="505" y="713"/>
                        </a:lnTo>
                        <a:lnTo>
                          <a:pt x="499" y="697"/>
                        </a:lnTo>
                        <a:lnTo>
                          <a:pt x="494" y="682"/>
                        </a:lnTo>
                        <a:lnTo>
                          <a:pt x="490" y="667"/>
                        </a:lnTo>
                        <a:lnTo>
                          <a:pt x="484" y="653"/>
                        </a:lnTo>
                        <a:lnTo>
                          <a:pt x="476" y="640"/>
                        </a:lnTo>
                        <a:lnTo>
                          <a:pt x="468" y="628"/>
                        </a:lnTo>
                        <a:lnTo>
                          <a:pt x="472" y="623"/>
                        </a:lnTo>
                        <a:lnTo>
                          <a:pt x="476" y="619"/>
                        </a:lnTo>
                        <a:lnTo>
                          <a:pt x="479" y="614"/>
                        </a:lnTo>
                        <a:lnTo>
                          <a:pt x="481" y="610"/>
                        </a:lnTo>
                        <a:lnTo>
                          <a:pt x="484" y="599"/>
                        </a:lnTo>
                        <a:lnTo>
                          <a:pt x="486" y="589"/>
                        </a:lnTo>
                        <a:lnTo>
                          <a:pt x="487" y="579"/>
                        </a:lnTo>
                        <a:lnTo>
                          <a:pt x="488" y="567"/>
                        </a:lnTo>
                        <a:lnTo>
                          <a:pt x="491" y="555"/>
                        </a:lnTo>
                        <a:lnTo>
                          <a:pt x="494" y="541"/>
                        </a:lnTo>
                        <a:lnTo>
                          <a:pt x="497" y="533"/>
                        </a:lnTo>
                        <a:lnTo>
                          <a:pt x="501" y="526"/>
                        </a:lnTo>
                        <a:lnTo>
                          <a:pt x="505" y="519"/>
                        </a:lnTo>
                        <a:lnTo>
                          <a:pt x="509" y="512"/>
                        </a:lnTo>
                        <a:lnTo>
                          <a:pt x="520" y="499"/>
                        </a:lnTo>
                        <a:lnTo>
                          <a:pt x="532" y="486"/>
                        </a:lnTo>
                        <a:lnTo>
                          <a:pt x="546" y="476"/>
                        </a:lnTo>
                        <a:lnTo>
                          <a:pt x="558" y="468"/>
                        </a:lnTo>
                        <a:lnTo>
                          <a:pt x="570" y="461"/>
                        </a:lnTo>
                        <a:lnTo>
                          <a:pt x="581" y="455"/>
                        </a:lnTo>
                        <a:lnTo>
                          <a:pt x="581" y="234"/>
                        </a:lnTo>
                        <a:lnTo>
                          <a:pt x="129" y="0"/>
                        </a:lnTo>
                        <a:lnTo>
                          <a:pt x="116" y="1"/>
                        </a:lnTo>
                        <a:lnTo>
                          <a:pt x="106" y="3"/>
                        </a:lnTo>
                        <a:lnTo>
                          <a:pt x="98" y="5"/>
                        </a:lnTo>
                        <a:lnTo>
                          <a:pt x="89" y="6"/>
                        </a:lnTo>
                        <a:lnTo>
                          <a:pt x="79" y="15"/>
                        </a:lnTo>
                        <a:lnTo>
                          <a:pt x="69" y="24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7" name="Freeform 447"/>
                  <p:cNvSpPr>
                    <a:spLocks/>
                  </p:cNvSpPr>
                  <p:nvPr>
                    <p:custDataLst>
                      <p:tags r:id="rId39"/>
                    </p:custDataLst>
                  </p:nvPr>
                </p:nvSpPr>
                <p:spPr bwMode="auto">
                  <a:xfrm>
                    <a:off x="3123694" y="2445072"/>
                    <a:ext cx="564708" cy="390405"/>
                  </a:xfrm>
                  <a:custGeom>
                    <a:avLst/>
                    <a:gdLst>
                      <a:gd name="T0" fmla="*/ 8366 w 405"/>
                      <a:gd name="T1" fmla="*/ 322966 h 314"/>
                      <a:gd name="T2" fmla="*/ 18126 w 405"/>
                      <a:gd name="T3" fmla="*/ 294396 h 314"/>
                      <a:gd name="T4" fmla="*/ 23703 w 405"/>
                      <a:gd name="T5" fmla="*/ 250920 h 314"/>
                      <a:gd name="T6" fmla="*/ 32068 w 405"/>
                      <a:gd name="T7" fmla="*/ 214897 h 314"/>
                      <a:gd name="T8" fmla="*/ 44617 w 405"/>
                      <a:gd name="T9" fmla="*/ 201233 h 314"/>
                      <a:gd name="T10" fmla="*/ 66925 w 405"/>
                      <a:gd name="T11" fmla="*/ 186327 h 314"/>
                      <a:gd name="T12" fmla="*/ 100388 w 405"/>
                      <a:gd name="T13" fmla="*/ 175147 h 314"/>
                      <a:gd name="T14" fmla="*/ 129667 w 405"/>
                      <a:gd name="T15" fmla="*/ 166452 h 314"/>
                      <a:gd name="T16" fmla="*/ 145004 w 405"/>
                      <a:gd name="T17" fmla="*/ 155272 h 314"/>
                      <a:gd name="T18" fmla="*/ 157553 w 405"/>
                      <a:gd name="T19" fmla="*/ 141608 h 314"/>
                      <a:gd name="T20" fmla="*/ 171495 w 405"/>
                      <a:gd name="T21" fmla="*/ 115523 h 314"/>
                      <a:gd name="T22" fmla="*/ 189621 w 405"/>
                      <a:gd name="T23" fmla="*/ 85710 h 314"/>
                      <a:gd name="T24" fmla="*/ 204958 w 405"/>
                      <a:gd name="T25" fmla="*/ 68320 h 314"/>
                      <a:gd name="T26" fmla="*/ 216112 w 405"/>
                      <a:gd name="T27" fmla="*/ 63351 h 314"/>
                      <a:gd name="T28" fmla="*/ 237026 w 405"/>
                      <a:gd name="T29" fmla="*/ 63351 h 314"/>
                      <a:gd name="T30" fmla="*/ 263517 w 405"/>
                      <a:gd name="T31" fmla="*/ 59625 h 314"/>
                      <a:gd name="T32" fmla="*/ 296980 w 405"/>
                      <a:gd name="T33" fmla="*/ 43476 h 314"/>
                      <a:gd name="T34" fmla="*/ 330442 w 405"/>
                      <a:gd name="T35" fmla="*/ 24844 h 314"/>
                      <a:gd name="T36" fmla="*/ 358328 w 405"/>
                      <a:gd name="T37" fmla="*/ 13664 h 314"/>
                      <a:gd name="T38" fmla="*/ 393185 w 405"/>
                      <a:gd name="T39" fmla="*/ 4969 h 314"/>
                      <a:gd name="T40" fmla="*/ 437801 w 405"/>
                      <a:gd name="T41" fmla="*/ 0 h 314"/>
                      <a:gd name="T42" fmla="*/ 462898 w 405"/>
                      <a:gd name="T43" fmla="*/ 17390 h 314"/>
                      <a:gd name="T44" fmla="*/ 469870 w 405"/>
                      <a:gd name="T45" fmla="*/ 42234 h 314"/>
                      <a:gd name="T46" fmla="*/ 478235 w 405"/>
                      <a:gd name="T47" fmla="*/ 62109 h 314"/>
                      <a:gd name="T48" fmla="*/ 490784 w 405"/>
                      <a:gd name="T49" fmla="*/ 77015 h 314"/>
                      <a:gd name="T50" fmla="*/ 513092 w 405"/>
                      <a:gd name="T51" fmla="*/ 91921 h 314"/>
                      <a:gd name="T52" fmla="*/ 532612 w 405"/>
                      <a:gd name="T53" fmla="*/ 105585 h 314"/>
                      <a:gd name="T54" fmla="*/ 543766 w 405"/>
                      <a:gd name="T55" fmla="*/ 115523 h 314"/>
                      <a:gd name="T56" fmla="*/ 552132 w 405"/>
                      <a:gd name="T57" fmla="*/ 142850 h 314"/>
                      <a:gd name="T58" fmla="*/ 554920 w 405"/>
                      <a:gd name="T59" fmla="*/ 177632 h 314"/>
                      <a:gd name="T60" fmla="*/ 554920 w 405"/>
                      <a:gd name="T61" fmla="*/ 211170 h 314"/>
                      <a:gd name="T62" fmla="*/ 560497 w 405"/>
                      <a:gd name="T63" fmla="*/ 243467 h 314"/>
                      <a:gd name="T64" fmla="*/ 554920 w 405"/>
                      <a:gd name="T65" fmla="*/ 269553 h 314"/>
                      <a:gd name="T66" fmla="*/ 532612 w 405"/>
                      <a:gd name="T67" fmla="*/ 280732 h 314"/>
                      <a:gd name="T68" fmla="*/ 508909 w 405"/>
                      <a:gd name="T69" fmla="*/ 299365 h 314"/>
                      <a:gd name="T70" fmla="*/ 506121 w 405"/>
                      <a:gd name="T71" fmla="*/ 294396 h 314"/>
                      <a:gd name="T72" fmla="*/ 499149 w 405"/>
                      <a:gd name="T73" fmla="*/ 289428 h 314"/>
                      <a:gd name="T74" fmla="*/ 476841 w 405"/>
                      <a:gd name="T75" fmla="*/ 281974 h 314"/>
                      <a:gd name="T76" fmla="*/ 444773 w 405"/>
                      <a:gd name="T77" fmla="*/ 277006 h 314"/>
                      <a:gd name="T78" fmla="*/ 211929 w 405"/>
                      <a:gd name="T79" fmla="*/ 299365 h 314"/>
                      <a:gd name="T80" fmla="*/ 209141 w 405"/>
                      <a:gd name="T81" fmla="*/ 319240 h 314"/>
                      <a:gd name="T82" fmla="*/ 209141 w 405"/>
                      <a:gd name="T83" fmla="*/ 340357 h 314"/>
                      <a:gd name="T84" fmla="*/ 211929 w 405"/>
                      <a:gd name="T85" fmla="*/ 390044 h 314"/>
                      <a:gd name="T86" fmla="*/ 193804 w 405"/>
                      <a:gd name="T87" fmla="*/ 387560 h 314"/>
                      <a:gd name="T88" fmla="*/ 175678 w 405"/>
                      <a:gd name="T89" fmla="*/ 378864 h 314"/>
                      <a:gd name="T90" fmla="*/ 139427 w 405"/>
                      <a:gd name="T91" fmla="*/ 360232 h 314"/>
                      <a:gd name="T92" fmla="*/ 124090 w 405"/>
                      <a:gd name="T93" fmla="*/ 381349 h 314"/>
                      <a:gd name="T94" fmla="*/ 114330 w 405"/>
                      <a:gd name="T95" fmla="*/ 387560 h 314"/>
                      <a:gd name="T96" fmla="*/ 101782 w 405"/>
                      <a:gd name="T97" fmla="*/ 390044 h 314"/>
                      <a:gd name="T98" fmla="*/ 83656 w 405"/>
                      <a:gd name="T99" fmla="*/ 386317 h 314"/>
                      <a:gd name="T100" fmla="*/ 65531 w 405"/>
                      <a:gd name="T101" fmla="*/ 375138 h 314"/>
                      <a:gd name="T102" fmla="*/ 39040 w 405"/>
                      <a:gd name="T103" fmla="*/ 361474 h 314"/>
                      <a:gd name="T104" fmla="*/ 0 w 405"/>
                      <a:gd name="T105" fmla="*/ 352779 h 314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405"/>
                      <a:gd name="T160" fmla="*/ 0 h 314"/>
                      <a:gd name="T161" fmla="*/ 405 w 405"/>
                      <a:gd name="T162" fmla="*/ 314 h 314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405" h="314">
                        <a:moveTo>
                          <a:pt x="0" y="272"/>
                        </a:moveTo>
                        <a:lnTo>
                          <a:pt x="6" y="260"/>
                        </a:lnTo>
                        <a:lnTo>
                          <a:pt x="11" y="248"/>
                        </a:lnTo>
                        <a:lnTo>
                          <a:pt x="13" y="237"/>
                        </a:lnTo>
                        <a:lnTo>
                          <a:pt x="15" y="226"/>
                        </a:lnTo>
                        <a:lnTo>
                          <a:pt x="17" y="202"/>
                        </a:lnTo>
                        <a:lnTo>
                          <a:pt x="20" y="179"/>
                        </a:lnTo>
                        <a:lnTo>
                          <a:pt x="23" y="173"/>
                        </a:lnTo>
                        <a:lnTo>
                          <a:pt x="26" y="167"/>
                        </a:lnTo>
                        <a:lnTo>
                          <a:pt x="32" y="162"/>
                        </a:lnTo>
                        <a:lnTo>
                          <a:pt x="36" y="158"/>
                        </a:lnTo>
                        <a:lnTo>
                          <a:pt x="48" y="150"/>
                        </a:lnTo>
                        <a:lnTo>
                          <a:pt x="60" y="145"/>
                        </a:lnTo>
                        <a:lnTo>
                          <a:pt x="72" y="141"/>
                        </a:lnTo>
                        <a:lnTo>
                          <a:pt x="83" y="137"/>
                        </a:lnTo>
                        <a:lnTo>
                          <a:pt x="93" y="134"/>
                        </a:lnTo>
                        <a:lnTo>
                          <a:pt x="100" y="130"/>
                        </a:lnTo>
                        <a:lnTo>
                          <a:pt x="104" y="125"/>
                        </a:lnTo>
                        <a:lnTo>
                          <a:pt x="109" y="120"/>
                        </a:lnTo>
                        <a:lnTo>
                          <a:pt x="113" y="114"/>
                        </a:lnTo>
                        <a:lnTo>
                          <a:pt x="116" y="107"/>
                        </a:lnTo>
                        <a:lnTo>
                          <a:pt x="123" y="93"/>
                        </a:lnTo>
                        <a:lnTo>
                          <a:pt x="129" y="81"/>
                        </a:lnTo>
                        <a:lnTo>
                          <a:pt x="136" y="69"/>
                        </a:lnTo>
                        <a:lnTo>
                          <a:pt x="143" y="59"/>
                        </a:lnTo>
                        <a:lnTo>
                          <a:pt x="147" y="55"/>
                        </a:lnTo>
                        <a:lnTo>
                          <a:pt x="150" y="53"/>
                        </a:lnTo>
                        <a:lnTo>
                          <a:pt x="155" y="51"/>
                        </a:lnTo>
                        <a:lnTo>
                          <a:pt x="159" y="50"/>
                        </a:lnTo>
                        <a:lnTo>
                          <a:pt x="170" y="51"/>
                        </a:lnTo>
                        <a:lnTo>
                          <a:pt x="180" y="50"/>
                        </a:lnTo>
                        <a:lnTo>
                          <a:pt x="189" y="48"/>
                        </a:lnTo>
                        <a:lnTo>
                          <a:pt x="196" y="44"/>
                        </a:lnTo>
                        <a:lnTo>
                          <a:pt x="213" y="35"/>
                        </a:lnTo>
                        <a:lnTo>
                          <a:pt x="228" y="25"/>
                        </a:lnTo>
                        <a:lnTo>
                          <a:pt x="237" y="20"/>
                        </a:lnTo>
                        <a:lnTo>
                          <a:pt x="247" y="15"/>
                        </a:lnTo>
                        <a:lnTo>
                          <a:pt x="257" y="11"/>
                        </a:lnTo>
                        <a:lnTo>
                          <a:pt x="269" y="7"/>
                        </a:lnTo>
                        <a:lnTo>
                          <a:pt x="282" y="4"/>
                        </a:lnTo>
                        <a:lnTo>
                          <a:pt x="296" y="1"/>
                        </a:lnTo>
                        <a:lnTo>
                          <a:pt x="314" y="0"/>
                        </a:lnTo>
                        <a:lnTo>
                          <a:pt x="332" y="1"/>
                        </a:lnTo>
                        <a:lnTo>
                          <a:pt x="332" y="14"/>
                        </a:lnTo>
                        <a:lnTo>
                          <a:pt x="335" y="25"/>
                        </a:lnTo>
                        <a:lnTo>
                          <a:pt x="337" y="34"/>
                        </a:lnTo>
                        <a:lnTo>
                          <a:pt x="340" y="43"/>
                        </a:lnTo>
                        <a:lnTo>
                          <a:pt x="343" y="50"/>
                        </a:lnTo>
                        <a:lnTo>
                          <a:pt x="348" y="56"/>
                        </a:lnTo>
                        <a:lnTo>
                          <a:pt x="352" y="62"/>
                        </a:lnTo>
                        <a:lnTo>
                          <a:pt x="357" y="66"/>
                        </a:lnTo>
                        <a:lnTo>
                          <a:pt x="368" y="74"/>
                        </a:lnTo>
                        <a:lnTo>
                          <a:pt x="378" y="81"/>
                        </a:lnTo>
                        <a:lnTo>
                          <a:pt x="382" y="85"/>
                        </a:lnTo>
                        <a:lnTo>
                          <a:pt x="385" y="89"/>
                        </a:lnTo>
                        <a:lnTo>
                          <a:pt x="390" y="93"/>
                        </a:lnTo>
                        <a:lnTo>
                          <a:pt x="392" y="100"/>
                        </a:lnTo>
                        <a:lnTo>
                          <a:pt x="396" y="115"/>
                        </a:lnTo>
                        <a:lnTo>
                          <a:pt x="398" y="129"/>
                        </a:lnTo>
                        <a:lnTo>
                          <a:pt x="398" y="143"/>
                        </a:lnTo>
                        <a:lnTo>
                          <a:pt x="398" y="157"/>
                        </a:lnTo>
                        <a:lnTo>
                          <a:pt x="398" y="170"/>
                        </a:lnTo>
                        <a:lnTo>
                          <a:pt x="399" y="183"/>
                        </a:lnTo>
                        <a:lnTo>
                          <a:pt x="402" y="196"/>
                        </a:lnTo>
                        <a:lnTo>
                          <a:pt x="405" y="211"/>
                        </a:lnTo>
                        <a:lnTo>
                          <a:pt x="398" y="217"/>
                        </a:lnTo>
                        <a:lnTo>
                          <a:pt x="390" y="221"/>
                        </a:lnTo>
                        <a:lnTo>
                          <a:pt x="382" y="226"/>
                        </a:lnTo>
                        <a:lnTo>
                          <a:pt x="374" y="233"/>
                        </a:lnTo>
                        <a:lnTo>
                          <a:pt x="365" y="241"/>
                        </a:lnTo>
                        <a:lnTo>
                          <a:pt x="365" y="239"/>
                        </a:lnTo>
                        <a:lnTo>
                          <a:pt x="363" y="237"/>
                        </a:lnTo>
                        <a:lnTo>
                          <a:pt x="361" y="235"/>
                        </a:lnTo>
                        <a:lnTo>
                          <a:pt x="358" y="233"/>
                        </a:lnTo>
                        <a:lnTo>
                          <a:pt x="351" y="230"/>
                        </a:lnTo>
                        <a:lnTo>
                          <a:pt x="342" y="227"/>
                        </a:lnTo>
                        <a:lnTo>
                          <a:pt x="326" y="224"/>
                        </a:lnTo>
                        <a:lnTo>
                          <a:pt x="319" y="223"/>
                        </a:lnTo>
                        <a:lnTo>
                          <a:pt x="300" y="241"/>
                        </a:lnTo>
                        <a:lnTo>
                          <a:pt x="152" y="241"/>
                        </a:lnTo>
                        <a:lnTo>
                          <a:pt x="151" y="249"/>
                        </a:lnTo>
                        <a:lnTo>
                          <a:pt x="150" y="257"/>
                        </a:lnTo>
                        <a:lnTo>
                          <a:pt x="150" y="266"/>
                        </a:lnTo>
                        <a:lnTo>
                          <a:pt x="150" y="274"/>
                        </a:lnTo>
                        <a:lnTo>
                          <a:pt x="152" y="291"/>
                        </a:lnTo>
                        <a:lnTo>
                          <a:pt x="152" y="314"/>
                        </a:lnTo>
                        <a:lnTo>
                          <a:pt x="146" y="314"/>
                        </a:lnTo>
                        <a:lnTo>
                          <a:pt x="139" y="312"/>
                        </a:lnTo>
                        <a:lnTo>
                          <a:pt x="133" y="308"/>
                        </a:lnTo>
                        <a:lnTo>
                          <a:pt x="126" y="305"/>
                        </a:lnTo>
                        <a:lnTo>
                          <a:pt x="114" y="297"/>
                        </a:lnTo>
                        <a:lnTo>
                          <a:pt x="100" y="290"/>
                        </a:lnTo>
                        <a:lnTo>
                          <a:pt x="94" y="299"/>
                        </a:lnTo>
                        <a:lnTo>
                          <a:pt x="89" y="307"/>
                        </a:lnTo>
                        <a:lnTo>
                          <a:pt x="85" y="310"/>
                        </a:lnTo>
                        <a:lnTo>
                          <a:pt x="82" y="312"/>
                        </a:lnTo>
                        <a:lnTo>
                          <a:pt x="78" y="314"/>
                        </a:lnTo>
                        <a:lnTo>
                          <a:pt x="73" y="314"/>
                        </a:lnTo>
                        <a:lnTo>
                          <a:pt x="66" y="313"/>
                        </a:lnTo>
                        <a:lnTo>
                          <a:pt x="60" y="311"/>
                        </a:lnTo>
                        <a:lnTo>
                          <a:pt x="54" y="306"/>
                        </a:lnTo>
                        <a:lnTo>
                          <a:pt x="47" y="302"/>
                        </a:lnTo>
                        <a:lnTo>
                          <a:pt x="38" y="296"/>
                        </a:lnTo>
                        <a:lnTo>
                          <a:pt x="28" y="291"/>
                        </a:lnTo>
                        <a:lnTo>
                          <a:pt x="16" y="287"/>
                        </a:lnTo>
                        <a:lnTo>
                          <a:pt x="0" y="284"/>
                        </a:lnTo>
                        <a:lnTo>
                          <a:pt x="0" y="272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8" name="Freeform 448"/>
                  <p:cNvSpPr>
                    <a:spLocks/>
                  </p:cNvSpPr>
                  <p:nvPr>
                    <p:custDataLst>
                      <p:tags r:id="rId40"/>
                    </p:custDataLst>
                  </p:nvPr>
                </p:nvSpPr>
                <p:spPr bwMode="auto">
                  <a:xfrm>
                    <a:off x="4226846" y="2606113"/>
                    <a:ext cx="617239" cy="824731"/>
                  </a:xfrm>
                  <a:custGeom>
                    <a:avLst/>
                    <a:gdLst>
                      <a:gd name="T0" fmla="*/ 454874 w 453"/>
                      <a:gd name="T1" fmla="*/ 44937 h 661"/>
                      <a:gd name="T2" fmla="*/ 435864 w 453"/>
                      <a:gd name="T3" fmla="*/ 122328 h 661"/>
                      <a:gd name="T4" fmla="*/ 376120 w 453"/>
                      <a:gd name="T5" fmla="*/ 202216 h 661"/>
                      <a:gd name="T6" fmla="*/ 343532 w 453"/>
                      <a:gd name="T7" fmla="*/ 273366 h 661"/>
                      <a:gd name="T8" fmla="*/ 315017 w 453"/>
                      <a:gd name="T9" fmla="*/ 339524 h 661"/>
                      <a:gd name="T10" fmla="*/ 283787 w 453"/>
                      <a:gd name="T11" fmla="*/ 410674 h 661"/>
                      <a:gd name="T12" fmla="*/ 266135 w 453"/>
                      <a:gd name="T13" fmla="*/ 451866 h 661"/>
                      <a:gd name="T14" fmla="*/ 244410 w 453"/>
                      <a:gd name="T15" fmla="*/ 474334 h 661"/>
                      <a:gd name="T16" fmla="*/ 226758 w 453"/>
                      <a:gd name="T17" fmla="*/ 486817 h 661"/>
                      <a:gd name="T18" fmla="*/ 191454 w 453"/>
                      <a:gd name="T19" fmla="*/ 476831 h 661"/>
                      <a:gd name="T20" fmla="*/ 164298 w 453"/>
                      <a:gd name="T21" fmla="*/ 461852 h 661"/>
                      <a:gd name="T22" fmla="*/ 127636 w 453"/>
                      <a:gd name="T23" fmla="*/ 458107 h 661"/>
                      <a:gd name="T24" fmla="*/ 86901 w 453"/>
                      <a:gd name="T25" fmla="*/ 474334 h 661"/>
                      <a:gd name="T26" fmla="*/ 59745 w 453"/>
                      <a:gd name="T27" fmla="*/ 503044 h 661"/>
                      <a:gd name="T28" fmla="*/ 28514 w 453"/>
                      <a:gd name="T29" fmla="*/ 566705 h 661"/>
                      <a:gd name="T30" fmla="*/ 9505 w 453"/>
                      <a:gd name="T31" fmla="*/ 601656 h 661"/>
                      <a:gd name="T32" fmla="*/ 1358 w 453"/>
                      <a:gd name="T33" fmla="*/ 624124 h 661"/>
                      <a:gd name="T34" fmla="*/ 10863 w 453"/>
                      <a:gd name="T35" fmla="*/ 645344 h 661"/>
                      <a:gd name="T36" fmla="*/ 27157 w 453"/>
                      <a:gd name="T37" fmla="*/ 656579 h 661"/>
                      <a:gd name="T38" fmla="*/ 74681 w 453"/>
                      <a:gd name="T39" fmla="*/ 656579 h 661"/>
                      <a:gd name="T40" fmla="*/ 96406 w 453"/>
                      <a:gd name="T41" fmla="*/ 684040 h 661"/>
                      <a:gd name="T42" fmla="*/ 99122 w 453"/>
                      <a:gd name="T43" fmla="*/ 736466 h 661"/>
                      <a:gd name="T44" fmla="*/ 90975 w 453"/>
                      <a:gd name="T45" fmla="*/ 786396 h 661"/>
                      <a:gd name="T46" fmla="*/ 587941 w 453"/>
                      <a:gd name="T47" fmla="*/ 825092 h 661"/>
                      <a:gd name="T48" fmla="*/ 600162 w 453"/>
                      <a:gd name="T49" fmla="*/ 726480 h 661"/>
                      <a:gd name="T50" fmla="*/ 563500 w 453"/>
                      <a:gd name="T51" fmla="*/ 709005 h 661"/>
                      <a:gd name="T52" fmla="*/ 506471 w 453"/>
                      <a:gd name="T53" fmla="*/ 695274 h 661"/>
                      <a:gd name="T54" fmla="*/ 479315 w 453"/>
                      <a:gd name="T55" fmla="*/ 685288 h 661"/>
                      <a:gd name="T56" fmla="*/ 461663 w 453"/>
                      <a:gd name="T57" fmla="*/ 670309 h 661"/>
                      <a:gd name="T58" fmla="*/ 452158 w 453"/>
                      <a:gd name="T59" fmla="*/ 642848 h 661"/>
                      <a:gd name="T60" fmla="*/ 452158 w 453"/>
                      <a:gd name="T61" fmla="*/ 579187 h 661"/>
                      <a:gd name="T62" fmla="*/ 457590 w 453"/>
                      <a:gd name="T63" fmla="*/ 534250 h 661"/>
                      <a:gd name="T64" fmla="*/ 476599 w 453"/>
                      <a:gd name="T65" fmla="*/ 495554 h 661"/>
                      <a:gd name="T66" fmla="*/ 506471 w 453"/>
                      <a:gd name="T67" fmla="*/ 454362 h 661"/>
                      <a:gd name="T68" fmla="*/ 532270 w 453"/>
                      <a:gd name="T69" fmla="*/ 411922 h 661"/>
                      <a:gd name="T70" fmla="*/ 541775 w 453"/>
                      <a:gd name="T71" fmla="*/ 370730 h 661"/>
                      <a:gd name="T72" fmla="*/ 528197 w 453"/>
                      <a:gd name="T73" fmla="*/ 333282 h 661"/>
                      <a:gd name="T74" fmla="*/ 506471 w 453"/>
                      <a:gd name="T75" fmla="*/ 307069 h 661"/>
                      <a:gd name="T76" fmla="*/ 465736 w 453"/>
                      <a:gd name="T77" fmla="*/ 270870 h 661"/>
                      <a:gd name="T78" fmla="*/ 452158 w 453"/>
                      <a:gd name="T79" fmla="*/ 239664 h 661"/>
                      <a:gd name="T80" fmla="*/ 454874 w 453"/>
                      <a:gd name="T81" fmla="*/ 215947 h 661"/>
                      <a:gd name="T82" fmla="*/ 479315 w 453"/>
                      <a:gd name="T83" fmla="*/ 204713 h 661"/>
                      <a:gd name="T84" fmla="*/ 551280 w 453"/>
                      <a:gd name="T85" fmla="*/ 202216 h 661"/>
                      <a:gd name="T86" fmla="*/ 536344 w 453"/>
                      <a:gd name="T87" fmla="*/ 188485 h 661"/>
                      <a:gd name="T88" fmla="*/ 514618 w 453"/>
                      <a:gd name="T89" fmla="*/ 146045 h 661"/>
                      <a:gd name="T90" fmla="*/ 503756 w 453"/>
                      <a:gd name="T91" fmla="*/ 91122 h 661"/>
                      <a:gd name="T92" fmla="*/ 506471 w 453"/>
                      <a:gd name="T93" fmla="*/ 56171 h 661"/>
                      <a:gd name="T94" fmla="*/ 498324 w 453"/>
                      <a:gd name="T95" fmla="*/ 13731 h 661"/>
                      <a:gd name="T96" fmla="*/ 471168 w 453"/>
                      <a:gd name="T97" fmla="*/ 0 h 661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453"/>
                      <a:gd name="T148" fmla="*/ 0 h 661"/>
                      <a:gd name="T149" fmla="*/ 453 w 453"/>
                      <a:gd name="T150" fmla="*/ 661 h 661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453" h="661">
                        <a:moveTo>
                          <a:pt x="330" y="9"/>
                        </a:moveTo>
                        <a:lnTo>
                          <a:pt x="332" y="23"/>
                        </a:lnTo>
                        <a:lnTo>
                          <a:pt x="335" y="36"/>
                        </a:lnTo>
                        <a:lnTo>
                          <a:pt x="340" y="50"/>
                        </a:lnTo>
                        <a:lnTo>
                          <a:pt x="346" y="63"/>
                        </a:lnTo>
                        <a:lnTo>
                          <a:pt x="321" y="98"/>
                        </a:lnTo>
                        <a:lnTo>
                          <a:pt x="298" y="129"/>
                        </a:lnTo>
                        <a:lnTo>
                          <a:pt x="287" y="145"/>
                        </a:lnTo>
                        <a:lnTo>
                          <a:pt x="277" y="162"/>
                        </a:lnTo>
                        <a:lnTo>
                          <a:pt x="268" y="179"/>
                        </a:lnTo>
                        <a:lnTo>
                          <a:pt x="259" y="200"/>
                        </a:lnTo>
                        <a:lnTo>
                          <a:pt x="253" y="219"/>
                        </a:lnTo>
                        <a:lnTo>
                          <a:pt x="245" y="237"/>
                        </a:lnTo>
                        <a:lnTo>
                          <a:pt x="239" y="255"/>
                        </a:lnTo>
                        <a:lnTo>
                          <a:pt x="232" y="272"/>
                        </a:lnTo>
                        <a:lnTo>
                          <a:pt x="225" y="289"/>
                        </a:lnTo>
                        <a:lnTo>
                          <a:pt x="218" y="309"/>
                        </a:lnTo>
                        <a:lnTo>
                          <a:pt x="209" y="329"/>
                        </a:lnTo>
                        <a:lnTo>
                          <a:pt x="200" y="353"/>
                        </a:lnTo>
                        <a:lnTo>
                          <a:pt x="199" y="356"/>
                        </a:lnTo>
                        <a:lnTo>
                          <a:pt x="196" y="362"/>
                        </a:lnTo>
                        <a:lnTo>
                          <a:pt x="191" y="368"/>
                        </a:lnTo>
                        <a:lnTo>
                          <a:pt x="186" y="374"/>
                        </a:lnTo>
                        <a:lnTo>
                          <a:pt x="180" y="380"/>
                        </a:lnTo>
                        <a:lnTo>
                          <a:pt x="175" y="385"/>
                        </a:lnTo>
                        <a:lnTo>
                          <a:pt x="171" y="389"/>
                        </a:lnTo>
                        <a:lnTo>
                          <a:pt x="167" y="390"/>
                        </a:lnTo>
                        <a:lnTo>
                          <a:pt x="157" y="389"/>
                        </a:lnTo>
                        <a:lnTo>
                          <a:pt x="149" y="386"/>
                        </a:lnTo>
                        <a:lnTo>
                          <a:pt x="141" y="382"/>
                        </a:lnTo>
                        <a:lnTo>
                          <a:pt x="134" y="378"/>
                        </a:lnTo>
                        <a:lnTo>
                          <a:pt x="128" y="374"/>
                        </a:lnTo>
                        <a:lnTo>
                          <a:pt x="121" y="370"/>
                        </a:lnTo>
                        <a:lnTo>
                          <a:pt x="115" y="367"/>
                        </a:lnTo>
                        <a:lnTo>
                          <a:pt x="107" y="366"/>
                        </a:lnTo>
                        <a:lnTo>
                          <a:pt x="94" y="367"/>
                        </a:lnTo>
                        <a:lnTo>
                          <a:pt x="83" y="370"/>
                        </a:lnTo>
                        <a:lnTo>
                          <a:pt x="73" y="374"/>
                        </a:lnTo>
                        <a:lnTo>
                          <a:pt x="64" y="380"/>
                        </a:lnTo>
                        <a:lnTo>
                          <a:pt x="56" y="387"/>
                        </a:lnTo>
                        <a:lnTo>
                          <a:pt x="50" y="395"/>
                        </a:lnTo>
                        <a:lnTo>
                          <a:pt x="44" y="403"/>
                        </a:lnTo>
                        <a:lnTo>
                          <a:pt x="39" y="413"/>
                        </a:lnTo>
                        <a:lnTo>
                          <a:pt x="30" y="434"/>
                        </a:lnTo>
                        <a:lnTo>
                          <a:pt x="21" y="454"/>
                        </a:lnTo>
                        <a:lnTo>
                          <a:pt x="17" y="463"/>
                        </a:lnTo>
                        <a:lnTo>
                          <a:pt x="11" y="473"/>
                        </a:lnTo>
                        <a:lnTo>
                          <a:pt x="7" y="482"/>
                        </a:lnTo>
                        <a:lnTo>
                          <a:pt x="0" y="489"/>
                        </a:lnTo>
                        <a:lnTo>
                          <a:pt x="1" y="494"/>
                        </a:lnTo>
                        <a:lnTo>
                          <a:pt x="1" y="500"/>
                        </a:lnTo>
                        <a:lnTo>
                          <a:pt x="4" y="506"/>
                        </a:lnTo>
                        <a:lnTo>
                          <a:pt x="6" y="512"/>
                        </a:lnTo>
                        <a:lnTo>
                          <a:pt x="8" y="517"/>
                        </a:lnTo>
                        <a:lnTo>
                          <a:pt x="11" y="521"/>
                        </a:lnTo>
                        <a:lnTo>
                          <a:pt x="16" y="524"/>
                        </a:lnTo>
                        <a:lnTo>
                          <a:pt x="20" y="526"/>
                        </a:lnTo>
                        <a:lnTo>
                          <a:pt x="28" y="526"/>
                        </a:lnTo>
                        <a:lnTo>
                          <a:pt x="40" y="526"/>
                        </a:lnTo>
                        <a:lnTo>
                          <a:pt x="55" y="526"/>
                        </a:lnTo>
                        <a:lnTo>
                          <a:pt x="74" y="526"/>
                        </a:lnTo>
                        <a:lnTo>
                          <a:pt x="72" y="537"/>
                        </a:lnTo>
                        <a:lnTo>
                          <a:pt x="71" y="548"/>
                        </a:lnTo>
                        <a:lnTo>
                          <a:pt x="71" y="558"/>
                        </a:lnTo>
                        <a:lnTo>
                          <a:pt x="72" y="569"/>
                        </a:lnTo>
                        <a:lnTo>
                          <a:pt x="73" y="590"/>
                        </a:lnTo>
                        <a:lnTo>
                          <a:pt x="74" y="612"/>
                        </a:lnTo>
                        <a:lnTo>
                          <a:pt x="71" y="621"/>
                        </a:lnTo>
                        <a:lnTo>
                          <a:pt x="67" y="630"/>
                        </a:lnTo>
                        <a:lnTo>
                          <a:pt x="167" y="630"/>
                        </a:lnTo>
                        <a:lnTo>
                          <a:pt x="273" y="630"/>
                        </a:lnTo>
                        <a:lnTo>
                          <a:pt x="433" y="661"/>
                        </a:lnTo>
                        <a:lnTo>
                          <a:pt x="453" y="594"/>
                        </a:lnTo>
                        <a:lnTo>
                          <a:pt x="447" y="588"/>
                        </a:lnTo>
                        <a:lnTo>
                          <a:pt x="442" y="582"/>
                        </a:lnTo>
                        <a:lnTo>
                          <a:pt x="435" y="577"/>
                        </a:lnTo>
                        <a:lnTo>
                          <a:pt x="430" y="573"/>
                        </a:lnTo>
                        <a:lnTo>
                          <a:pt x="415" y="568"/>
                        </a:lnTo>
                        <a:lnTo>
                          <a:pt x="402" y="564"/>
                        </a:lnTo>
                        <a:lnTo>
                          <a:pt x="387" y="561"/>
                        </a:lnTo>
                        <a:lnTo>
                          <a:pt x="373" y="557"/>
                        </a:lnTo>
                        <a:lnTo>
                          <a:pt x="366" y="555"/>
                        </a:lnTo>
                        <a:lnTo>
                          <a:pt x="359" y="552"/>
                        </a:lnTo>
                        <a:lnTo>
                          <a:pt x="353" y="549"/>
                        </a:lnTo>
                        <a:lnTo>
                          <a:pt x="346" y="544"/>
                        </a:lnTo>
                        <a:lnTo>
                          <a:pt x="343" y="541"/>
                        </a:lnTo>
                        <a:lnTo>
                          <a:pt x="340" y="537"/>
                        </a:lnTo>
                        <a:lnTo>
                          <a:pt x="337" y="532"/>
                        </a:lnTo>
                        <a:lnTo>
                          <a:pt x="335" y="527"/>
                        </a:lnTo>
                        <a:lnTo>
                          <a:pt x="333" y="515"/>
                        </a:lnTo>
                        <a:lnTo>
                          <a:pt x="332" y="504"/>
                        </a:lnTo>
                        <a:lnTo>
                          <a:pt x="332" y="482"/>
                        </a:lnTo>
                        <a:lnTo>
                          <a:pt x="333" y="464"/>
                        </a:lnTo>
                        <a:lnTo>
                          <a:pt x="333" y="451"/>
                        </a:lnTo>
                        <a:lnTo>
                          <a:pt x="335" y="439"/>
                        </a:lnTo>
                        <a:lnTo>
                          <a:pt x="337" y="428"/>
                        </a:lnTo>
                        <a:lnTo>
                          <a:pt x="342" y="417"/>
                        </a:lnTo>
                        <a:lnTo>
                          <a:pt x="345" y="406"/>
                        </a:lnTo>
                        <a:lnTo>
                          <a:pt x="351" y="397"/>
                        </a:lnTo>
                        <a:lnTo>
                          <a:pt x="355" y="389"/>
                        </a:lnTo>
                        <a:lnTo>
                          <a:pt x="362" y="380"/>
                        </a:lnTo>
                        <a:lnTo>
                          <a:pt x="373" y="364"/>
                        </a:lnTo>
                        <a:lnTo>
                          <a:pt x="384" y="347"/>
                        </a:lnTo>
                        <a:lnTo>
                          <a:pt x="388" y="338"/>
                        </a:lnTo>
                        <a:lnTo>
                          <a:pt x="392" y="330"/>
                        </a:lnTo>
                        <a:lnTo>
                          <a:pt x="397" y="320"/>
                        </a:lnTo>
                        <a:lnTo>
                          <a:pt x="399" y="310"/>
                        </a:lnTo>
                        <a:lnTo>
                          <a:pt x="399" y="297"/>
                        </a:lnTo>
                        <a:lnTo>
                          <a:pt x="397" y="286"/>
                        </a:lnTo>
                        <a:lnTo>
                          <a:pt x="393" y="276"/>
                        </a:lnTo>
                        <a:lnTo>
                          <a:pt x="389" y="267"/>
                        </a:lnTo>
                        <a:lnTo>
                          <a:pt x="384" y="260"/>
                        </a:lnTo>
                        <a:lnTo>
                          <a:pt x="378" y="253"/>
                        </a:lnTo>
                        <a:lnTo>
                          <a:pt x="373" y="246"/>
                        </a:lnTo>
                        <a:lnTo>
                          <a:pt x="366" y="240"/>
                        </a:lnTo>
                        <a:lnTo>
                          <a:pt x="354" y="229"/>
                        </a:lnTo>
                        <a:lnTo>
                          <a:pt x="343" y="217"/>
                        </a:lnTo>
                        <a:lnTo>
                          <a:pt x="339" y="209"/>
                        </a:lnTo>
                        <a:lnTo>
                          <a:pt x="335" y="201"/>
                        </a:lnTo>
                        <a:lnTo>
                          <a:pt x="333" y="192"/>
                        </a:lnTo>
                        <a:lnTo>
                          <a:pt x="333" y="180"/>
                        </a:lnTo>
                        <a:lnTo>
                          <a:pt x="333" y="176"/>
                        </a:lnTo>
                        <a:lnTo>
                          <a:pt x="335" y="173"/>
                        </a:lnTo>
                        <a:lnTo>
                          <a:pt x="339" y="170"/>
                        </a:lnTo>
                        <a:lnTo>
                          <a:pt x="343" y="167"/>
                        </a:lnTo>
                        <a:lnTo>
                          <a:pt x="353" y="164"/>
                        </a:lnTo>
                        <a:lnTo>
                          <a:pt x="365" y="162"/>
                        </a:lnTo>
                        <a:lnTo>
                          <a:pt x="389" y="162"/>
                        </a:lnTo>
                        <a:lnTo>
                          <a:pt x="406" y="162"/>
                        </a:lnTo>
                        <a:lnTo>
                          <a:pt x="402" y="160"/>
                        </a:lnTo>
                        <a:lnTo>
                          <a:pt x="399" y="156"/>
                        </a:lnTo>
                        <a:lnTo>
                          <a:pt x="395" y="151"/>
                        </a:lnTo>
                        <a:lnTo>
                          <a:pt x="391" y="146"/>
                        </a:lnTo>
                        <a:lnTo>
                          <a:pt x="385" y="132"/>
                        </a:lnTo>
                        <a:lnTo>
                          <a:pt x="379" y="117"/>
                        </a:lnTo>
                        <a:lnTo>
                          <a:pt x="375" y="101"/>
                        </a:lnTo>
                        <a:lnTo>
                          <a:pt x="373" y="83"/>
                        </a:lnTo>
                        <a:lnTo>
                          <a:pt x="371" y="73"/>
                        </a:lnTo>
                        <a:lnTo>
                          <a:pt x="371" y="64"/>
                        </a:lnTo>
                        <a:lnTo>
                          <a:pt x="371" y="54"/>
                        </a:lnTo>
                        <a:lnTo>
                          <a:pt x="373" y="45"/>
                        </a:lnTo>
                        <a:lnTo>
                          <a:pt x="371" y="33"/>
                        </a:lnTo>
                        <a:lnTo>
                          <a:pt x="369" y="21"/>
                        </a:lnTo>
                        <a:lnTo>
                          <a:pt x="367" y="11"/>
                        </a:lnTo>
                        <a:lnTo>
                          <a:pt x="366" y="2"/>
                        </a:lnTo>
                        <a:lnTo>
                          <a:pt x="357" y="1"/>
                        </a:lnTo>
                        <a:lnTo>
                          <a:pt x="347" y="0"/>
                        </a:lnTo>
                        <a:lnTo>
                          <a:pt x="346" y="2"/>
                        </a:lnTo>
                        <a:lnTo>
                          <a:pt x="330" y="9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89" name="Freeform 451"/>
                  <p:cNvSpPr>
                    <a:spLocks/>
                  </p:cNvSpPr>
                  <p:nvPr>
                    <p:custDataLst>
                      <p:tags r:id="rId41"/>
                    </p:custDataLst>
                  </p:nvPr>
                </p:nvSpPr>
                <p:spPr bwMode="auto">
                  <a:xfrm>
                    <a:off x="4416332" y="3292575"/>
                    <a:ext cx="592850" cy="649049"/>
                  </a:xfrm>
                  <a:custGeom>
                    <a:avLst/>
                    <a:gdLst>
                      <a:gd name="T0" fmla="*/ 594931 w 429"/>
                      <a:gd name="T1" fmla="*/ 27241 h 524"/>
                      <a:gd name="T2" fmla="*/ 593544 w 429"/>
                      <a:gd name="T3" fmla="*/ 53243 h 524"/>
                      <a:gd name="T4" fmla="*/ 587997 w 429"/>
                      <a:gd name="T5" fmla="*/ 66863 h 524"/>
                      <a:gd name="T6" fmla="*/ 575516 w 429"/>
                      <a:gd name="T7" fmla="*/ 82960 h 524"/>
                      <a:gd name="T8" fmla="*/ 572742 w 429"/>
                      <a:gd name="T9" fmla="*/ 100295 h 524"/>
                      <a:gd name="T10" fmla="*/ 574129 w 429"/>
                      <a:gd name="T11" fmla="*/ 198114 h 524"/>
                      <a:gd name="T12" fmla="*/ 565809 w 429"/>
                      <a:gd name="T13" fmla="*/ 256310 h 524"/>
                      <a:gd name="T14" fmla="*/ 549167 w 429"/>
                      <a:gd name="T15" fmla="*/ 298409 h 524"/>
                      <a:gd name="T16" fmla="*/ 515884 w 429"/>
                      <a:gd name="T17" fmla="*/ 344223 h 524"/>
                      <a:gd name="T18" fmla="*/ 468734 w 429"/>
                      <a:gd name="T19" fmla="*/ 382607 h 524"/>
                      <a:gd name="T20" fmla="*/ 442385 w 429"/>
                      <a:gd name="T21" fmla="*/ 412324 h 524"/>
                      <a:gd name="T22" fmla="*/ 432677 w 429"/>
                      <a:gd name="T23" fmla="*/ 510143 h 524"/>
                      <a:gd name="T24" fmla="*/ 421583 w 429"/>
                      <a:gd name="T25" fmla="*/ 543575 h 524"/>
                      <a:gd name="T26" fmla="*/ 402168 w 429"/>
                      <a:gd name="T27" fmla="*/ 554719 h 524"/>
                      <a:gd name="T28" fmla="*/ 373045 w 429"/>
                      <a:gd name="T29" fmla="*/ 563386 h 524"/>
                      <a:gd name="T30" fmla="*/ 350857 w 429"/>
                      <a:gd name="T31" fmla="*/ 584436 h 524"/>
                      <a:gd name="T32" fmla="*/ 324508 w 429"/>
                      <a:gd name="T33" fmla="*/ 619106 h 524"/>
                      <a:gd name="T34" fmla="*/ 309253 w 429"/>
                      <a:gd name="T35" fmla="*/ 625297 h 524"/>
                      <a:gd name="T36" fmla="*/ 278744 w 429"/>
                      <a:gd name="T37" fmla="*/ 624059 h 524"/>
                      <a:gd name="T38" fmla="*/ 262102 w 429"/>
                      <a:gd name="T39" fmla="*/ 616629 h 524"/>
                      <a:gd name="T40" fmla="*/ 201084 w 429"/>
                      <a:gd name="T41" fmla="*/ 619106 h 524"/>
                      <a:gd name="T42" fmla="*/ 170575 w 429"/>
                      <a:gd name="T43" fmla="*/ 619106 h 524"/>
                      <a:gd name="T44" fmla="*/ 156707 w 429"/>
                      <a:gd name="T45" fmla="*/ 611677 h 524"/>
                      <a:gd name="T46" fmla="*/ 131745 w 429"/>
                      <a:gd name="T47" fmla="*/ 610438 h 524"/>
                      <a:gd name="T48" fmla="*/ 108169 w 429"/>
                      <a:gd name="T49" fmla="*/ 621582 h 524"/>
                      <a:gd name="T50" fmla="*/ 85981 w 429"/>
                      <a:gd name="T51" fmla="*/ 642632 h 524"/>
                      <a:gd name="T52" fmla="*/ 37443 w 429"/>
                      <a:gd name="T53" fmla="*/ 607962 h 524"/>
                      <a:gd name="T54" fmla="*/ 8321 w 429"/>
                      <a:gd name="T55" fmla="*/ 553481 h 524"/>
                      <a:gd name="T56" fmla="*/ 34670 w 429"/>
                      <a:gd name="T57" fmla="*/ 532431 h 524"/>
                      <a:gd name="T58" fmla="*/ 58245 w 429"/>
                      <a:gd name="T59" fmla="*/ 525002 h 524"/>
                      <a:gd name="T60" fmla="*/ 84594 w 429"/>
                      <a:gd name="T61" fmla="*/ 529955 h 524"/>
                      <a:gd name="T62" fmla="*/ 80434 w 429"/>
                      <a:gd name="T63" fmla="*/ 517572 h 524"/>
                      <a:gd name="T64" fmla="*/ 62405 w 429"/>
                      <a:gd name="T65" fmla="*/ 477950 h 524"/>
                      <a:gd name="T66" fmla="*/ 65179 w 429"/>
                      <a:gd name="T67" fmla="*/ 453185 h 524"/>
                      <a:gd name="T68" fmla="*/ 79047 w 429"/>
                      <a:gd name="T69" fmla="*/ 440803 h 524"/>
                      <a:gd name="T70" fmla="*/ 98462 w 429"/>
                      <a:gd name="T71" fmla="*/ 435851 h 524"/>
                      <a:gd name="T72" fmla="*/ 123424 w 429"/>
                      <a:gd name="T73" fmla="*/ 417277 h 524"/>
                      <a:gd name="T74" fmla="*/ 144226 w 429"/>
                      <a:gd name="T75" fmla="*/ 412324 h 524"/>
                      <a:gd name="T76" fmla="*/ 159480 w 429"/>
                      <a:gd name="T77" fmla="*/ 423468 h 524"/>
                      <a:gd name="T78" fmla="*/ 187216 w 429"/>
                      <a:gd name="T79" fmla="*/ 444518 h 524"/>
                      <a:gd name="T80" fmla="*/ 213565 w 429"/>
                      <a:gd name="T81" fmla="*/ 434612 h 524"/>
                      <a:gd name="T82" fmla="*/ 251008 w 429"/>
                      <a:gd name="T83" fmla="*/ 437089 h 524"/>
                      <a:gd name="T84" fmla="*/ 275970 w 429"/>
                      <a:gd name="T85" fmla="*/ 420992 h 524"/>
                      <a:gd name="T86" fmla="*/ 291225 w 429"/>
                      <a:gd name="T87" fmla="*/ 390037 h 524"/>
                      <a:gd name="T88" fmla="*/ 295385 w 429"/>
                      <a:gd name="T89" fmla="*/ 359081 h 524"/>
                      <a:gd name="T90" fmla="*/ 298159 w 429"/>
                      <a:gd name="T91" fmla="*/ 333079 h 524"/>
                      <a:gd name="T92" fmla="*/ 278744 w 429"/>
                      <a:gd name="T93" fmla="*/ 292218 h 524"/>
                      <a:gd name="T94" fmla="*/ 260716 w 429"/>
                      <a:gd name="T95" fmla="*/ 251357 h 524"/>
                      <a:gd name="T96" fmla="*/ 287065 w 429"/>
                      <a:gd name="T97" fmla="*/ 219163 h 524"/>
                      <a:gd name="T98" fmla="*/ 291225 w 429"/>
                      <a:gd name="T99" fmla="*/ 203067 h 524"/>
                      <a:gd name="T100" fmla="*/ 277357 w 429"/>
                      <a:gd name="T101" fmla="*/ 191923 h 524"/>
                      <a:gd name="T102" fmla="*/ 273197 w 429"/>
                      <a:gd name="T103" fmla="*/ 169635 h 524"/>
                      <a:gd name="T104" fmla="*/ 260716 w 429"/>
                      <a:gd name="T105" fmla="*/ 159729 h 524"/>
                      <a:gd name="T106" fmla="*/ 223272 w 429"/>
                      <a:gd name="T107" fmla="*/ 163444 h 524"/>
                      <a:gd name="T108" fmla="*/ 189990 w 429"/>
                      <a:gd name="T109" fmla="*/ 162206 h 524"/>
                      <a:gd name="T110" fmla="*/ 173348 w 429"/>
                      <a:gd name="T111" fmla="*/ 147347 h 524"/>
                      <a:gd name="T112" fmla="*/ 170575 w 429"/>
                      <a:gd name="T113" fmla="*/ 127536 h 524"/>
                      <a:gd name="T114" fmla="*/ 183056 w 429"/>
                      <a:gd name="T115" fmla="*/ 94104 h 524"/>
                      <a:gd name="T116" fmla="*/ 424356 w 429"/>
                      <a:gd name="T117" fmla="*/ 47052 h 524"/>
                      <a:gd name="T118" fmla="*/ 447932 w 429"/>
                      <a:gd name="T119" fmla="*/ 21050 h 524"/>
                      <a:gd name="T120" fmla="*/ 475667 w 429"/>
                      <a:gd name="T121" fmla="*/ 8667 h 524"/>
                      <a:gd name="T122" fmla="*/ 518658 w 429"/>
                      <a:gd name="T123" fmla="*/ 6191 h 524"/>
                      <a:gd name="T124" fmla="*/ 565809 w 429"/>
                      <a:gd name="T125" fmla="*/ 4953 h 52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429"/>
                      <a:gd name="T190" fmla="*/ 0 h 524"/>
                      <a:gd name="T191" fmla="*/ 429 w 429"/>
                      <a:gd name="T192" fmla="*/ 524 h 52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429" h="524">
                        <a:moveTo>
                          <a:pt x="426" y="0"/>
                        </a:moveTo>
                        <a:lnTo>
                          <a:pt x="427" y="12"/>
                        </a:lnTo>
                        <a:lnTo>
                          <a:pt x="429" y="22"/>
                        </a:lnTo>
                        <a:lnTo>
                          <a:pt x="429" y="31"/>
                        </a:lnTo>
                        <a:lnTo>
                          <a:pt x="429" y="38"/>
                        </a:lnTo>
                        <a:lnTo>
                          <a:pt x="428" y="43"/>
                        </a:lnTo>
                        <a:lnTo>
                          <a:pt x="427" y="48"/>
                        </a:lnTo>
                        <a:lnTo>
                          <a:pt x="426" y="51"/>
                        </a:lnTo>
                        <a:lnTo>
                          <a:pt x="424" y="54"/>
                        </a:lnTo>
                        <a:lnTo>
                          <a:pt x="419" y="60"/>
                        </a:lnTo>
                        <a:lnTo>
                          <a:pt x="416" y="64"/>
                        </a:lnTo>
                        <a:lnTo>
                          <a:pt x="415" y="67"/>
                        </a:lnTo>
                        <a:lnTo>
                          <a:pt x="413" y="71"/>
                        </a:lnTo>
                        <a:lnTo>
                          <a:pt x="413" y="75"/>
                        </a:lnTo>
                        <a:lnTo>
                          <a:pt x="413" y="81"/>
                        </a:lnTo>
                        <a:lnTo>
                          <a:pt x="413" y="109"/>
                        </a:lnTo>
                        <a:lnTo>
                          <a:pt x="414" y="135"/>
                        </a:lnTo>
                        <a:lnTo>
                          <a:pt x="414" y="160"/>
                        </a:lnTo>
                        <a:lnTo>
                          <a:pt x="413" y="183"/>
                        </a:lnTo>
                        <a:lnTo>
                          <a:pt x="410" y="196"/>
                        </a:lnTo>
                        <a:lnTo>
                          <a:pt x="408" y="207"/>
                        </a:lnTo>
                        <a:lnTo>
                          <a:pt x="405" y="218"/>
                        </a:lnTo>
                        <a:lnTo>
                          <a:pt x="401" y="229"/>
                        </a:lnTo>
                        <a:lnTo>
                          <a:pt x="396" y="241"/>
                        </a:lnTo>
                        <a:lnTo>
                          <a:pt x="390" y="254"/>
                        </a:lnTo>
                        <a:lnTo>
                          <a:pt x="382" y="266"/>
                        </a:lnTo>
                        <a:lnTo>
                          <a:pt x="372" y="278"/>
                        </a:lnTo>
                        <a:lnTo>
                          <a:pt x="360" y="288"/>
                        </a:lnTo>
                        <a:lnTo>
                          <a:pt x="346" y="300"/>
                        </a:lnTo>
                        <a:lnTo>
                          <a:pt x="338" y="309"/>
                        </a:lnTo>
                        <a:lnTo>
                          <a:pt x="331" y="316"/>
                        </a:lnTo>
                        <a:lnTo>
                          <a:pt x="325" y="324"/>
                        </a:lnTo>
                        <a:lnTo>
                          <a:pt x="319" y="333"/>
                        </a:lnTo>
                        <a:lnTo>
                          <a:pt x="318" y="361"/>
                        </a:lnTo>
                        <a:lnTo>
                          <a:pt x="314" y="395"/>
                        </a:lnTo>
                        <a:lnTo>
                          <a:pt x="312" y="412"/>
                        </a:lnTo>
                        <a:lnTo>
                          <a:pt x="308" y="428"/>
                        </a:lnTo>
                        <a:lnTo>
                          <a:pt x="306" y="434"/>
                        </a:lnTo>
                        <a:lnTo>
                          <a:pt x="304" y="439"/>
                        </a:lnTo>
                        <a:lnTo>
                          <a:pt x="302" y="442"/>
                        </a:lnTo>
                        <a:lnTo>
                          <a:pt x="300" y="444"/>
                        </a:lnTo>
                        <a:lnTo>
                          <a:pt x="290" y="448"/>
                        </a:lnTo>
                        <a:lnTo>
                          <a:pt x="280" y="451"/>
                        </a:lnTo>
                        <a:lnTo>
                          <a:pt x="274" y="453"/>
                        </a:lnTo>
                        <a:lnTo>
                          <a:pt x="269" y="455"/>
                        </a:lnTo>
                        <a:lnTo>
                          <a:pt x="264" y="458"/>
                        </a:lnTo>
                        <a:lnTo>
                          <a:pt x="259" y="462"/>
                        </a:lnTo>
                        <a:lnTo>
                          <a:pt x="253" y="472"/>
                        </a:lnTo>
                        <a:lnTo>
                          <a:pt x="245" y="487"/>
                        </a:lnTo>
                        <a:lnTo>
                          <a:pt x="239" y="494"/>
                        </a:lnTo>
                        <a:lnTo>
                          <a:pt x="234" y="500"/>
                        </a:lnTo>
                        <a:lnTo>
                          <a:pt x="230" y="502"/>
                        </a:lnTo>
                        <a:lnTo>
                          <a:pt x="227" y="504"/>
                        </a:lnTo>
                        <a:lnTo>
                          <a:pt x="223" y="505"/>
                        </a:lnTo>
                        <a:lnTo>
                          <a:pt x="219" y="506"/>
                        </a:lnTo>
                        <a:lnTo>
                          <a:pt x="210" y="505"/>
                        </a:lnTo>
                        <a:lnTo>
                          <a:pt x="201" y="504"/>
                        </a:lnTo>
                        <a:lnTo>
                          <a:pt x="196" y="503"/>
                        </a:lnTo>
                        <a:lnTo>
                          <a:pt x="192" y="501"/>
                        </a:lnTo>
                        <a:lnTo>
                          <a:pt x="189" y="498"/>
                        </a:lnTo>
                        <a:lnTo>
                          <a:pt x="186" y="494"/>
                        </a:lnTo>
                        <a:lnTo>
                          <a:pt x="166" y="496"/>
                        </a:lnTo>
                        <a:lnTo>
                          <a:pt x="145" y="500"/>
                        </a:lnTo>
                        <a:lnTo>
                          <a:pt x="135" y="502"/>
                        </a:lnTo>
                        <a:lnTo>
                          <a:pt x="126" y="501"/>
                        </a:lnTo>
                        <a:lnTo>
                          <a:pt x="123" y="500"/>
                        </a:lnTo>
                        <a:lnTo>
                          <a:pt x="119" y="499"/>
                        </a:lnTo>
                        <a:lnTo>
                          <a:pt x="116" y="497"/>
                        </a:lnTo>
                        <a:lnTo>
                          <a:pt x="113" y="494"/>
                        </a:lnTo>
                        <a:lnTo>
                          <a:pt x="106" y="493"/>
                        </a:lnTo>
                        <a:lnTo>
                          <a:pt x="100" y="493"/>
                        </a:lnTo>
                        <a:lnTo>
                          <a:pt x="95" y="493"/>
                        </a:lnTo>
                        <a:lnTo>
                          <a:pt x="91" y="494"/>
                        </a:lnTo>
                        <a:lnTo>
                          <a:pt x="83" y="497"/>
                        </a:lnTo>
                        <a:lnTo>
                          <a:pt x="78" y="502"/>
                        </a:lnTo>
                        <a:lnTo>
                          <a:pt x="73" y="507"/>
                        </a:lnTo>
                        <a:lnTo>
                          <a:pt x="68" y="513"/>
                        </a:lnTo>
                        <a:lnTo>
                          <a:pt x="62" y="519"/>
                        </a:lnTo>
                        <a:lnTo>
                          <a:pt x="54" y="524"/>
                        </a:lnTo>
                        <a:lnTo>
                          <a:pt x="39" y="507"/>
                        </a:lnTo>
                        <a:lnTo>
                          <a:pt x="27" y="491"/>
                        </a:lnTo>
                        <a:lnTo>
                          <a:pt x="14" y="474"/>
                        </a:lnTo>
                        <a:lnTo>
                          <a:pt x="0" y="456"/>
                        </a:lnTo>
                        <a:lnTo>
                          <a:pt x="6" y="447"/>
                        </a:lnTo>
                        <a:lnTo>
                          <a:pt x="13" y="440"/>
                        </a:lnTo>
                        <a:lnTo>
                          <a:pt x="18" y="434"/>
                        </a:lnTo>
                        <a:lnTo>
                          <a:pt x="25" y="430"/>
                        </a:lnTo>
                        <a:lnTo>
                          <a:pt x="31" y="427"/>
                        </a:lnTo>
                        <a:lnTo>
                          <a:pt x="36" y="425"/>
                        </a:lnTo>
                        <a:lnTo>
                          <a:pt x="42" y="424"/>
                        </a:lnTo>
                        <a:lnTo>
                          <a:pt x="46" y="424"/>
                        </a:lnTo>
                        <a:lnTo>
                          <a:pt x="55" y="425"/>
                        </a:lnTo>
                        <a:lnTo>
                          <a:pt x="61" y="428"/>
                        </a:lnTo>
                        <a:lnTo>
                          <a:pt x="65" y="431"/>
                        </a:lnTo>
                        <a:lnTo>
                          <a:pt x="67" y="432"/>
                        </a:lnTo>
                        <a:lnTo>
                          <a:pt x="58" y="418"/>
                        </a:lnTo>
                        <a:lnTo>
                          <a:pt x="51" y="405"/>
                        </a:lnTo>
                        <a:lnTo>
                          <a:pt x="47" y="395"/>
                        </a:lnTo>
                        <a:lnTo>
                          <a:pt x="45" y="386"/>
                        </a:lnTo>
                        <a:lnTo>
                          <a:pt x="45" y="378"/>
                        </a:lnTo>
                        <a:lnTo>
                          <a:pt x="45" y="372"/>
                        </a:lnTo>
                        <a:lnTo>
                          <a:pt x="47" y="366"/>
                        </a:lnTo>
                        <a:lnTo>
                          <a:pt x="50" y="362"/>
                        </a:lnTo>
                        <a:lnTo>
                          <a:pt x="54" y="359"/>
                        </a:lnTo>
                        <a:lnTo>
                          <a:pt x="57" y="356"/>
                        </a:lnTo>
                        <a:lnTo>
                          <a:pt x="61" y="354"/>
                        </a:lnTo>
                        <a:lnTo>
                          <a:pt x="65" y="353"/>
                        </a:lnTo>
                        <a:lnTo>
                          <a:pt x="71" y="352"/>
                        </a:lnTo>
                        <a:lnTo>
                          <a:pt x="73" y="351"/>
                        </a:lnTo>
                        <a:lnTo>
                          <a:pt x="81" y="343"/>
                        </a:lnTo>
                        <a:lnTo>
                          <a:pt x="89" y="337"/>
                        </a:lnTo>
                        <a:lnTo>
                          <a:pt x="94" y="334"/>
                        </a:lnTo>
                        <a:lnTo>
                          <a:pt x="100" y="333"/>
                        </a:lnTo>
                        <a:lnTo>
                          <a:pt x="104" y="333"/>
                        </a:lnTo>
                        <a:lnTo>
                          <a:pt x="109" y="335"/>
                        </a:lnTo>
                        <a:lnTo>
                          <a:pt x="112" y="339"/>
                        </a:lnTo>
                        <a:lnTo>
                          <a:pt x="115" y="342"/>
                        </a:lnTo>
                        <a:lnTo>
                          <a:pt x="123" y="350"/>
                        </a:lnTo>
                        <a:lnTo>
                          <a:pt x="130" y="356"/>
                        </a:lnTo>
                        <a:lnTo>
                          <a:pt x="135" y="359"/>
                        </a:lnTo>
                        <a:lnTo>
                          <a:pt x="140" y="359"/>
                        </a:lnTo>
                        <a:lnTo>
                          <a:pt x="146" y="356"/>
                        </a:lnTo>
                        <a:lnTo>
                          <a:pt x="154" y="351"/>
                        </a:lnTo>
                        <a:lnTo>
                          <a:pt x="163" y="354"/>
                        </a:lnTo>
                        <a:lnTo>
                          <a:pt x="172" y="354"/>
                        </a:lnTo>
                        <a:lnTo>
                          <a:pt x="181" y="353"/>
                        </a:lnTo>
                        <a:lnTo>
                          <a:pt x="188" y="350"/>
                        </a:lnTo>
                        <a:lnTo>
                          <a:pt x="193" y="345"/>
                        </a:lnTo>
                        <a:lnTo>
                          <a:pt x="199" y="340"/>
                        </a:lnTo>
                        <a:lnTo>
                          <a:pt x="202" y="334"/>
                        </a:lnTo>
                        <a:lnTo>
                          <a:pt x="205" y="328"/>
                        </a:lnTo>
                        <a:lnTo>
                          <a:pt x="210" y="315"/>
                        </a:lnTo>
                        <a:lnTo>
                          <a:pt x="212" y="302"/>
                        </a:lnTo>
                        <a:lnTo>
                          <a:pt x="213" y="293"/>
                        </a:lnTo>
                        <a:lnTo>
                          <a:pt x="213" y="290"/>
                        </a:lnTo>
                        <a:lnTo>
                          <a:pt x="215" y="283"/>
                        </a:lnTo>
                        <a:lnTo>
                          <a:pt x="215" y="276"/>
                        </a:lnTo>
                        <a:lnTo>
                          <a:pt x="215" y="269"/>
                        </a:lnTo>
                        <a:lnTo>
                          <a:pt x="213" y="262"/>
                        </a:lnTo>
                        <a:lnTo>
                          <a:pt x="208" y="249"/>
                        </a:lnTo>
                        <a:lnTo>
                          <a:pt x="201" y="236"/>
                        </a:lnTo>
                        <a:lnTo>
                          <a:pt x="186" y="217"/>
                        </a:lnTo>
                        <a:lnTo>
                          <a:pt x="180" y="210"/>
                        </a:lnTo>
                        <a:lnTo>
                          <a:pt x="188" y="203"/>
                        </a:lnTo>
                        <a:lnTo>
                          <a:pt x="202" y="187"/>
                        </a:lnTo>
                        <a:lnTo>
                          <a:pt x="205" y="182"/>
                        </a:lnTo>
                        <a:lnTo>
                          <a:pt x="207" y="177"/>
                        </a:lnTo>
                        <a:lnTo>
                          <a:pt x="210" y="173"/>
                        </a:lnTo>
                        <a:lnTo>
                          <a:pt x="211" y="168"/>
                        </a:lnTo>
                        <a:lnTo>
                          <a:pt x="210" y="164"/>
                        </a:lnTo>
                        <a:lnTo>
                          <a:pt x="208" y="161"/>
                        </a:lnTo>
                        <a:lnTo>
                          <a:pt x="205" y="157"/>
                        </a:lnTo>
                        <a:lnTo>
                          <a:pt x="200" y="155"/>
                        </a:lnTo>
                        <a:lnTo>
                          <a:pt x="200" y="148"/>
                        </a:lnTo>
                        <a:lnTo>
                          <a:pt x="200" y="142"/>
                        </a:lnTo>
                        <a:lnTo>
                          <a:pt x="197" y="137"/>
                        </a:lnTo>
                        <a:lnTo>
                          <a:pt x="195" y="133"/>
                        </a:lnTo>
                        <a:lnTo>
                          <a:pt x="192" y="131"/>
                        </a:lnTo>
                        <a:lnTo>
                          <a:pt x="188" y="129"/>
                        </a:lnTo>
                        <a:lnTo>
                          <a:pt x="183" y="129"/>
                        </a:lnTo>
                        <a:lnTo>
                          <a:pt x="179" y="129"/>
                        </a:lnTo>
                        <a:lnTo>
                          <a:pt x="161" y="132"/>
                        </a:lnTo>
                        <a:lnTo>
                          <a:pt x="154" y="137"/>
                        </a:lnTo>
                        <a:lnTo>
                          <a:pt x="144" y="134"/>
                        </a:lnTo>
                        <a:lnTo>
                          <a:pt x="137" y="131"/>
                        </a:lnTo>
                        <a:lnTo>
                          <a:pt x="132" y="128"/>
                        </a:lnTo>
                        <a:lnTo>
                          <a:pt x="127" y="124"/>
                        </a:lnTo>
                        <a:lnTo>
                          <a:pt x="125" y="119"/>
                        </a:lnTo>
                        <a:lnTo>
                          <a:pt x="123" y="114"/>
                        </a:lnTo>
                        <a:lnTo>
                          <a:pt x="123" y="109"/>
                        </a:lnTo>
                        <a:lnTo>
                          <a:pt x="123" y="103"/>
                        </a:lnTo>
                        <a:lnTo>
                          <a:pt x="125" y="93"/>
                        </a:lnTo>
                        <a:lnTo>
                          <a:pt x="128" y="84"/>
                        </a:lnTo>
                        <a:lnTo>
                          <a:pt x="132" y="76"/>
                        </a:lnTo>
                        <a:lnTo>
                          <a:pt x="133" y="74"/>
                        </a:lnTo>
                        <a:lnTo>
                          <a:pt x="293" y="105"/>
                        </a:lnTo>
                        <a:lnTo>
                          <a:pt x="306" y="38"/>
                        </a:lnTo>
                        <a:lnTo>
                          <a:pt x="311" y="30"/>
                        </a:lnTo>
                        <a:lnTo>
                          <a:pt x="317" y="22"/>
                        </a:lnTo>
                        <a:lnTo>
                          <a:pt x="323" y="17"/>
                        </a:lnTo>
                        <a:lnTo>
                          <a:pt x="329" y="12"/>
                        </a:lnTo>
                        <a:lnTo>
                          <a:pt x="336" y="9"/>
                        </a:lnTo>
                        <a:lnTo>
                          <a:pt x="343" y="7"/>
                        </a:lnTo>
                        <a:lnTo>
                          <a:pt x="350" y="6"/>
                        </a:lnTo>
                        <a:lnTo>
                          <a:pt x="358" y="5"/>
                        </a:lnTo>
                        <a:lnTo>
                          <a:pt x="374" y="5"/>
                        </a:lnTo>
                        <a:lnTo>
                          <a:pt x="391" y="4"/>
                        </a:lnTo>
                        <a:lnTo>
                          <a:pt x="399" y="4"/>
                        </a:lnTo>
                        <a:lnTo>
                          <a:pt x="408" y="4"/>
                        </a:lnTo>
                        <a:lnTo>
                          <a:pt x="417" y="2"/>
                        </a:lnTo>
                        <a:lnTo>
                          <a:pt x="426" y="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90" name="Freeform 457"/>
                  <p:cNvSpPr>
                    <a:spLocks/>
                  </p:cNvSpPr>
                  <p:nvPr>
                    <p:custDataLst>
                      <p:tags r:id="rId42"/>
                    </p:custDataLst>
                  </p:nvPr>
                </p:nvSpPr>
                <p:spPr bwMode="auto">
                  <a:xfrm>
                    <a:off x="5453821" y="1234817"/>
                    <a:ext cx="866762" cy="728756"/>
                  </a:xfrm>
                  <a:custGeom>
                    <a:avLst/>
                    <a:gdLst>
                      <a:gd name="T0" fmla="*/ 28860 w 631"/>
                      <a:gd name="T1" fmla="*/ 2458 h 592"/>
                      <a:gd name="T2" fmla="*/ 43978 w 631"/>
                      <a:gd name="T3" fmla="*/ 4916 h 592"/>
                      <a:gd name="T4" fmla="*/ 74213 w 631"/>
                      <a:gd name="T5" fmla="*/ 9832 h 592"/>
                      <a:gd name="T6" fmla="*/ 107196 w 631"/>
                      <a:gd name="T7" fmla="*/ 13519 h 592"/>
                      <a:gd name="T8" fmla="*/ 142928 w 631"/>
                      <a:gd name="T9" fmla="*/ 23351 h 592"/>
                      <a:gd name="T10" fmla="*/ 178660 w 631"/>
                      <a:gd name="T11" fmla="*/ 39329 h 592"/>
                      <a:gd name="T12" fmla="*/ 200649 w 631"/>
                      <a:gd name="T13" fmla="*/ 49161 h 592"/>
                      <a:gd name="T14" fmla="*/ 218515 w 631"/>
                      <a:gd name="T15" fmla="*/ 52848 h 592"/>
                      <a:gd name="T16" fmla="*/ 259744 w 631"/>
                      <a:gd name="T17" fmla="*/ 52848 h 592"/>
                      <a:gd name="T18" fmla="*/ 311968 w 631"/>
                      <a:gd name="T19" fmla="*/ 45474 h 592"/>
                      <a:gd name="T20" fmla="*/ 380683 w 631"/>
                      <a:gd name="T21" fmla="*/ 28268 h 592"/>
                      <a:gd name="T22" fmla="*/ 548349 w 631"/>
                      <a:gd name="T23" fmla="*/ 46703 h 592"/>
                      <a:gd name="T24" fmla="*/ 553846 w 631"/>
                      <a:gd name="T25" fmla="*/ 84803 h 592"/>
                      <a:gd name="T26" fmla="*/ 563466 w 631"/>
                      <a:gd name="T27" fmla="*/ 116757 h 592"/>
                      <a:gd name="T28" fmla="*/ 573086 w 631"/>
                      <a:gd name="T29" fmla="*/ 146254 h 592"/>
                      <a:gd name="T30" fmla="*/ 586829 w 631"/>
                      <a:gd name="T31" fmla="*/ 172063 h 592"/>
                      <a:gd name="T32" fmla="*/ 618438 w 631"/>
                      <a:gd name="T33" fmla="*/ 215079 h 592"/>
                      <a:gd name="T34" fmla="*/ 648673 w 631"/>
                      <a:gd name="T35" fmla="*/ 250720 h 592"/>
                      <a:gd name="T36" fmla="*/ 662416 w 631"/>
                      <a:gd name="T37" fmla="*/ 272843 h 592"/>
                      <a:gd name="T38" fmla="*/ 666539 w 631"/>
                      <a:gd name="T39" fmla="*/ 294965 h 592"/>
                      <a:gd name="T40" fmla="*/ 674785 w 631"/>
                      <a:gd name="T41" fmla="*/ 313401 h 592"/>
                      <a:gd name="T42" fmla="*/ 681656 w 631"/>
                      <a:gd name="T43" fmla="*/ 320775 h 592"/>
                      <a:gd name="T44" fmla="*/ 694025 w 631"/>
                      <a:gd name="T45" fmla="*/ 326920 h 592"/>
                      <a:gd name="T46" fmla="*/ 705020 w 631"/>
                      <a:gd name="T47" fmla="*/ 331836 h 592"/>
                      <a:gd name="T48" fmla="*/ 713266 w 631"/>
                      <a:gd name="T49" fmla="*/ 341668 h 592"/>
                      <a:gd name="T50" fmla="*/ 732506 w 631"/>
                      <a:gd name="T51" fmla="*/ 372394 h 592"/>
                      <a:gd name="T52" fmla="*/ 743500 w 631"/>
                      <a:gd name="T53" fmla="*/ 406806 h 592"/>
                      <a:gd name="T54" fmla="*/ 748998 w 631"/>
                      <a:gd name="T55" fmla="*/ 439990 h 592"/>
                      <a:gd name="T56" fmla="*/ 753121 w 631"/>
                      <a:gd name="T57" fmla="*/ 452280 h 592"/>
                      <a:gd name="T58" fmla="*/ 765489 w 631"/>
                      <a:gd name="T59" fmla="*/ 468257 h 592"/>
                      <a:gd name="T60" fmla="*/ 801221 w 631"/>
                      <a:gd name="T61" fmla="*/ 510044 h 592"/>
                      <a:gd name="T62" fmla="*/ 841076 w 631"/>
                      <a:gd name="T63" fmla="*/ 549373 h 592"/>
                      <a:gd name="T64" fmla="*/ 867188 w 631"/>
                      <a:gd name="T65" fmla="*/ 569037 h 592"/>
                      <a:gd name="T66" fmla="*/ 841076 w 631"/>
                      <a:gd name="T67" fmla="*/ 591159 h 592"/>
                      <a:gd name="T68" fmla="*/ 857568 w 631"/>
                      <a:gd name="T69" fmla="*/ 609595 h 592"/>
                      <a:gd name="T70" fmla="*/ 860316 w 631"/>
                      <a:gd name="T71" fmla="*/ 623114 h 592"/>
                      <a:gd name="T72" fmla="*/ 860316 w 631"/>
                      <a:gd name="T73" fmla="*/ 634175 h 592"/>
                      <a:gd name="T74" fmla="*/ 867188 w 631"/>
                      <a:gd name="T75" fmla="*/ 652611 h 592"/>
                      <a:gd name="T76" fmla="*/ 860316 w 631"/>
                      <a:gd name="T77" fmla="*/ 662443 h 592"/>
                      <a:gd name="T78" fmla="*/ 847948 w 631"/>
                      <a:gd name="T79" fmla="*/ 673504 h 592"/>
                      <a:gd name="T80" fmla="*/ 813590 w 631"/>
                      <a:gd name="T81" fmla="*/ 699314 h 592"/>
                      <a:gd name="T82" fmla="*/ 766864 w 631"/>
                      <a:gd name="T83" fmla="*/ 727581 h 592"/>
                      <a:gd name="T84" fmla="*/ 63218 w 631"/>
                      <a:gd name="T85" fmla="*/ 213850 h 592"/>
                      <a:gd name="T86" fmla="*/ 34358 w 631"/>
                      <a:gd name="T87" fmla="*/ 192956 h 592"/>
                      <a:gd name="T88" fmla="*/ 15117 w 631"/>
                      <a:gd name="T89" fmla="*/ 169605 h 592"/>
                      <a:gd name="T90" fmla="*/ 2749 w 631"/>
                      <a:gd name="T91" fmla="*/ 143796 h 592"/>
                      <a:gd name="T92" fmla="*/ 0 w 631"/>
                      <a:gd name="T93" fmla="*/ 114299 h 592"/>
                      <a:gd name="T94" fmla="*/ 4123 w 631"/>
                      <a:gd name="T95" fmla="*/ 109383 h 592"/>
                      <a:gd name="T96" fmla="*/ 13743 w 631"/>
                      <a:gd name="T97" fmla="*/ 102009 h 592"/>
                      <a:gd name="T98" fmla="*/ 23363 w 631"/>
                      <a:gd name="T99" fmla="*/ 94635 h 592"/>
                      <a:gd name="T100" fmla="*/ 27486 w 631"/>
                      <a:gd name="T101" fmla="*/ 84803 h 592"/>
                      <a:gd name="T102" fmla="*/ 24738 w 631"/>
                      <a:gd name="T103" fmla="*/ 65138 h 592"/>
                      <a:gd name="T104" fmla="*/ 17866 w 631"/>
                      <a:gd name="T105" fmla="*/ 51619 h 592"/>
                      <a:gd name="T106" fmla="*/ 12369 w 631"/>
                      <a:gd name="T107" fmla="*/ 41787 h 592"/>
                      <a:gd name="T108" fmla="*/ 9620 w 631"/>
                      <a:gd name="T109" fmla="*/ 31955 h 592"/>
                      <a:gd name="T110" fmla="*/ 17866 w 631"/>
                      <a:gd name="T111" fmla="*/ 0 h 59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631"/>
                      <a:gd name="T169" fmla="*/ 0 h 592"/>
                      <a:gd name="T170" fmla="*/ 631 w 631"/>
                      <a:gd name="T171" fmla="*/ 592 h 59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631" h="592">
                        <a:moveTo>
                          <a:pt x="13" y="0"/>
                        </a:moveTo>
                        <a:lnTo>
                          <a:pt x="21" y="2"/>
                        </a:lnTo>
                        <a:lnTo>
                          <a:pt x="26" y="2"/>
                        </a:lnTo>
                        <a:lnTo>
                          <a:pt x="32" y="4"/>
                        </a:lnTo>
                        <a:lnTo>
                          <a:pt x="40" y="7"/>
                        </a:lnTo>
                        <a:lnTo>
                          <a:pt x="54" y="8"/>
                        </a:lnTo>
                        <a:lnTo>
                          <a:pt x="67" y="9"/>
                        </a:lnTo>
                        <a:lnTo>
                          <a:pt x="78" y="11"/>
                        </a:lnTo>
                        <a:lnTo>
                          <a:pt x="88" y="13"/>
                        </a:lnTo>
                        <a:lnTo>
                          <a:pt x="104" y="19"/>
                        </a:lnTo>
                        <a:lnTo>
                          <a:pt x="118" y="26"/>
                        </a:lnTo>
                        <a:lnTo>
                          <a:pt x="130" y="32"/>
                        </a:lnTo>
                        <a:lnTo>
                          <a:pt x="141" y="38"/>
                        </a:lnTo>
                        <a:lnTo>
                          <a:pt x="146" y="40"/>
                        </a:lnTo>
                        <a:lnTo>
                          <a:pt x="153" y="42"/>
                        </a:lnTo>
                        <a:lnTo>
                          <a:pt x="159" y="43"/>
                        </a:lnTo>
                        <a:lnTo>
                          <a:pt x="166" y="44"/>
                        </a:lnTo>
                        <a:lnTo>
                          <a:pt x="189" y="43"/>
                        </a:lnTo>
                        <a:lnTo>
                          <a:pt x="210" y="41"/>
                        </a:lnTo>
                        <a:lnTo>
                          <a:pt x="227" y="37"/>
                        </a:lnTo>
                        <a:lnTo>
                          <a:pt x="244" y="33"/>
                        </a:lnTo>
                        <a:lnTo>
                          <a:pt x="277" y="23"/>
                        </a:lnTo>
                        <a:lnTo>
                          <a:pt x="312" y="14"/>
                        </a:lnTo>
                        <a:lnTo>
                          <a:pt x="399" y="38"/>
                        </a:lnTo>
                        <a:lnTo>
                          <a:pt x="400" y="53"/>
                        </a:lnTo>
                        <a:lnTo>
                          <a:pt x="403" y="69"/>
                        </a:lnTo>
                        <a:lnTo>
                          <a:pt x="405" y="82"/>
                        </a:lnTo>
                        <a:lnTo>
                          <a:pt x="410" y="95"/>
                        </a:lnTo>
                        <a:lnTo>
                          <a:pt x="413" y="107"/>
                        </a:lnTo>
                        <a:lnTo>
                          <a:pt x="417" y="119"/>
                        </a:lnTo>
                        <a:lnTo>
                          <a:pt x="423" y="130"/>
                        </a:lnTo>
                        <a:lnTo>
                          <a:pt x="427" y="140"/>
                        </a:lnTo>
                        <a:lnTo>
                          <a:pt x="438" y="158"/>
                        </a:lnTo>
                        <a:lnTo>
                          <a:pt x="450" y="175"/>
                        </a:lnTo>
                        <a:lnTo>
                          <a:pt x="461" y="190"/>
                        </a:lnTo>
                        <a:lnTo>
                          <a:pt x="472" y="204"/>
                        </a:lnTo>
                        <a:lnTo>
                          <a:pt x="478" y="213"/>
                        </a:lnTo>
                        <a:lnTo>
                          <a:pt x="482" y="222"/>
                        </a:lnTo>
                        <a:lnTo>
                          <a:pt x="484" y="232"/>
                        </a:lnTo>
                        <a:lnTo>
                          <a:pt x="485" y="240"/>
                        </a:lnTo>
                        <a:lnTo>
                          <a:pt x="488" y="248"/>
                        </a:lnTo>
                        <a:lnTo>
                          <a:pt x="491" y="255"/>
                        </a:lnTo>
                        <a:lnTo>
                          <a:pt x="494" y="258"/>
                        </a:lnTo>
                        <a:lnTo>
                          <a:pt x="496" y="261"/>
                        </a:lnTo>
                        <a:lnTo>
                          <a:pt x="501" y="263"/>
                        </a:lnTo>
                        <a:lnTo>
                          <a:pt x="505" y="266"/>
                        </a:lnTo>
                        <a:lnTo>
                          <a:pt x="508" y="267"/>
                        </a:lnTo>
                        <a:lnTo>
                          <a:pt x="513" y="270"/>
                        </a:lnTo>
                        <a:lnTo>
                          <a:pt x="516" y="274"/>
                        </a:lnTo>
                        <a:lnTo>
                          <a:pt x="519" y="278"/>
                        </a:lnTo>
                        <a:lnTo>
                          <a:pt x="526" y="290"/>
                        </a:lnTo>
                        <a:lnTo>
                          <a:pt x="533" y="303"/>
                        </a:lnTo>
                        <a:lnTo>
                          <a:pt x="537" y="317"/>
                        </a:lnTo>
                        <a:lnTo>
                          <a:pt x="541" y="331"/>
                        </a:lnTo>
                        <a:lnTo>
                          <a:pt x="544" y="346"/>
                        </a:lnTo>
                        <a:lnTo>
                          <a:pt x="545" y="358"/>
                        </a:lnTo>
                        <a:lnTo>
                          <a:pt x="546" y="363"/>
                        </a:lnTo>
                        <a:lnTo>
                          <a:pt x="548" y="368"/>
                        </a:lnTo>
                        <a:lnTo>
                          <a:pt x="551" y="374"/>
                        </a:lnTo>
                        <a:lnTo>
                          <a:pt x="557" y="381"/>
                        </a:lnTo>
                        <a:lnTo>
                          <a:pt x="569" y="398"/>
                        </a:lnTo>
                        <a:lnTo>
                          <a:pt x="583" y="415"/>
                        </a:lnTo>
                        <a:lnTo>
                          <a:pt x="598" y="432"/>
                        </a:lnTo>
                        <a:lnTo>
                          <a:pt x="612" y="447"/>
                        </a:lnTo>
                        <a:lnTo>
                          <a:pt x="624" y="458"/>
                        </a:lnTo>
                        <a:lnTo>
                          <a:pt x="631" y="463"/>
                        </a:lnTo>
                        <a:lnTo>
                          <a:pt x="622" y="472"/>
                        </a:lnTo>
                        <a:lnTo>
                          <a:pt x="612" y="481"/>
                        </a:lnTo>
                        <a:lnTo>
                          <a:pt x="619" y="489"/>
                        </a:lnTo>
                        <a:lnTo>
                          <a:pt x="624" y="496"/>
                        </a:lnTo>
                        <a:lnTo>
                          <a:pt x="626" y="501"/>
                        </a:lnTo>
                        <a:lnTo>
                          <a:pt x="626" y="507"/>
                        </a:lnTo>
                        <a:lnTo>
                          <a:pt x="626" y="511"/>
                        </a:lnTo>
                        <a:lnTo>
                          <a:pt x="626" y="516"/>
                        </a:lnTo>
                        <a:lnTo>
                          <a:pt x="627" y="523"/>
                        </a:lnTo>
                        <a:lnTo>
                          <a:pt x="631" y="531"/>
                        </a:lnTo>
                        <a:lnTo>
                          <a:pt x="629" y="535"/>
                        </a:lnTo>
                        <a:lnTo>
                          <a:pt x="626" y="539"/>
                        </a:lnTo>
                        <a:lnTo>
                          <a:pt x="622" y="543"/>
                        </a:lnTo>
                        <a:lnTo>
                          <a:pt x="617" y="548"/>
                        </a:lnTo>
                        <a:lnTo>
                          <a:pt x="605" y="559"/>
                        </a:lnTo>
                        <a:lnTo>
                          <a:pt x="592" y="569"/>
                        </a:lnTo>
                        <a:lnTo>
                          <a:pt x="569" y="585"/>
                        </a:lnTo>
                        <a:lnTo>
                          <a:pt x="558" y="592"/>
                        </a:lnTo>
                        <a:lnTo>
                          <a:pt x="53" y="592"/>
                        </a:lnTo>
                        <a:lnTo>
                          <a:pt x="46" y="174"/>
                        </a:lnTo>
                        <a:lnTo>
                          <a:pt x="35" y="166"/>
                        </a:lnTo>
                        <a:lnTo>
                          <a:pt x="25" y="157"/>
                        </a:lnTo>
                        <a:lnTo>
                          <a:pt x="18" y="148"/>
                        </a:lnTo>
                        <a:lnTo>
                          <a:pt x="11" y="138"/>
                        </a:lnTo>
                        <a:lnTo>
                          <a:pt x="6" y="128"/>
                        </a:lnTo>
                        <a:lnTo>
                          <a:pt x="2" y="117"/>
                        </a:lnTo>
                        <a:lnTo>
                          <a:pt x="1" y="105"/>
                        </a:lnTo>
                        <a:lnTo>
                          <a:pt x="0" y="93"/>
                        </a:lnTo>
                        <a:lnTo>
                          <a:pt x="1" y="91"/>
                        </a:lnTo>
                        <a:lnTo>
                          <a:pt x="3" y="89"/>
                        </a:lnTo>
                        <a:lnTo>
                          <a:pt x="7" y="86"/>
                        </a:lnTo>
                        <a:lnTo>
                          <a:pt x="10" y="83"/>
                        </a:lnTo>
                        <a:lnTo>
                          <a:pt x="13" y="80"/>
                        </a:lnTo>
                        <a:lnTo>
                          <a:pt x="17" y="77"/>
                        </a:lnTo>
                        <a:lnTo>
                          <a:pt x="19" y="73"/>
                        </a:lnTo>
                        <a:lnTo>
                          <a:pt x="20" y="69"/>
                        </a:lnTo>
                        <a:lnTo>
                          <a:pt x="20" y="61"/>
                        </a:lnTo>
                        <a:lnTo>
                          <a:pt x="18" y="53"/>
                        </a:lnTo>
                        <a:lnTo>
                          <a:pt x="15" y="47"/>
                        </a:lnTo>
                        <a:lnTo>
                          <a:pt x="13" y="42"/>
                        </a:lnTo>
                        <a:lnTo>
                          <a:pt x="11" y="38"/>
                        </a:lnTo>
                        <a:lnTo>
                          <a:pt x="9" y="34"/>
                        </a:lnTo>
                        <a:lnTo>
                          <a:pt x="7" y="30"/>
                        </a:lnTo>
                        <a:lnTo>
                          <a:pt x="7" y="26"/>
                        </a:lnTo>
                        <a:lnTo>
                          <a:pt x="10" y="11"/>
                        </a:lnTo>
                        <a:lnTo>
                          <a:pt x="13" y="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91" name="Freeform 463"/>
                  <p:cNvSpPr>
                    <a:spLocks/>
                  </p:cNvSpPr>
                  <p:nvPr>
                    <p:custDataLst>
                      <p:tags r:id="rId43"/>
                    </p:custDataLst>
                  </p:nvPr>
                </p:nvSpPr>
                <p:spPr bwMode="auto">
                  <a:xfrm>
                    <a:off x="2354490" y="2497126"/>
                    <a:ext cx="583469" cy="592114"/>
                  </a:xfrm>
                  <a:custGeom>
                    <a:avLst/>
                    <a:gdLst>
                      <a:gd name="T0" fmla="*/ 265586 w 426"/>
                      <a:gd name="T1" fmla="*/ 31674 h 299"/>
                      <a:gd name="T2" fmla="*/ 295703 w 426"/>
                      <a:gd name="T3" fmla="*/ 43552 h 299"/>
                      <a:gd name="T4" fmla="*/ 314869 w 426"/>
                      <a:gd name="T5" fmla="*/ 57409 h 299"/>
                      <a:gd name="T6" fmla="*/ 346356 w 426"/>
                      <a:gd name="T7" fmla="*/ 69287 h 299"/>
                      <a:gd name="T8" fmla="*/ 381950 w 426"/>
                      <a:gd name="T9" fmla="*/ 73246 h 299"/>
                      <a:gd name="T10" fmla="*/ 410699 w 426"/>
                      <a:gd name="T11" fmla="*/ 73246 h 299"/>
                      <a:gd name="T12" fmla="*/ 436710 w 426"/>
                      <a:gd name="T13" fmla="*/ 67307 h 299"/>
                      <a:gd name="T14" fmla="*/ 450400 w 426"/>
                      <a:gd name="T15" fmla="*/ 57409 h 299"/>
                      <a:gd name="T16" fmla="*/ 499684 w 426"/>
                      <a:gd name="T17" fmla="*/ 49491 h 299"/>
                      <a:gd name="T18" fmla="*/ 509267 w 426"/>
                      <a:gd name="T19" fmla="*/ 97001 h 299"/>
                      <a:gd name="T20" fmla="*/ 524326 w 426"/>
                      <a:gd name="T21" fmla="*/ 146492 h 299"/>
                      <a:gd name="T22" fmla="*/ 535278 w 426"/>
                      <a:gd name="T23" fmla="*/ 166288 h 299"/>
                      <a:gd name="T24" fmla="*/ 547599 w 426"/>
                      <a:gd name="T25" fmla="*/ 182125 h 299"/>
                      <a:gd name="T26" fmla="*/ 564027 w 426"/>
                      <a:gd name="T27" fmla="*/ 192023 h 299"/>
                      <a:gd name="T28" fmla="*/ 581824 w 426"/>
                      <a:gd name="T29" fmla="*/ 195983 h 299"/>
                      <a:gd name="T30" fmla="*/ 581824 w 426"/>
                      <a:gd name="T31" fmla="*/ 237555 h 299"/>
                      <a:gd name="T32" fmla="*/ 581824 w 426"/>
                      <a:gd name="T33" fmla="*/ 281106 h 299"/>
                      <a:gd name="T34" fmla="*/ 569503 w 426"/>
                      <a:gd name="T35" fmla="*/ 312780 h 299"/>
                      <a:gd name="T36" fmla="*/ 564027 w 426"/>
                      <a:gd name="T37" fmla="*/ 336536 h 299"/>
                      <a:gd name="T38" fmla="*/ 564027 w 426"/>
                      <a:gd name="T39" fmla="*/ 358312 h 299"/>
                      <a:gd name="T40" fmla="*/ 568134 w 426"/>
                      <a:gd name="T41" fmla="*/ 376128 h 299"/>
                      <a:gd name="T42" fmla="*/ 579086 w 426"/>
                      <a:gd name="T43" fmla="*/ 417700 h 299"/>
                      <a:gd name="T44" fmla="*/ 583193 w 426"/>
                      <a:gd name="T45" fmla="*/ 447395 h 299"/>
                      <a:gd name="T46" fmla="*/ 581824 w 426"/>
                      <a:gd name="T47" fmla="*/ 488967 h 299"/>
                      <a:gd name="T48" fmla="*/ 583193 w 426"/>
                      <a:gd name="T49" fmla="*/ 542416 h 299"/>
                      <a:gd name="T50" fmla="*/ 579086 w 426"/>
                      <a:gd name="T51" fmla="*/ 564192 h 299"/>
                      <a:gd name="T52" fmla="*/ 564027 w 426"/>
                      <a:gd name="T53" fmla="*/ 585968 h 299"/>
                      <a:gd name="T54" fmla="*/ 520219 w 426"/>
                      <a:gd name="T55" fmla="*/ 589927 h 299"/>
                      <a:gd name="T56" fmla="*/ 506529 w 426"/>
                      <a:gd name="T57" fmla="*/ 591907 h 299"/>
                      <a:gd name="T58" fmla="*/ 492839 w 426"/>
                      <a:gd name="T59" fmla="*/ 585968 h 299"/>
                      <a:gd name="T60" fmla="*/ 480518 w 426"/>
                      <a:gd name="T61" fmla="*/ 574090 h 299"/>
                      <a:gd name="T62" fmla="*/ 462721 w 426"/>
                      <a:gd name="T63" fmla="*/ 550335 h 299"/>
                      <a:gd name="T64" fmla="*/ 443555 w 426"/>
                      <a:gd name="T65" fmla="*/ 516681 h 299"/>
                      <a:gd name="T66" fmla="*/ 425758 w 426"/>
                      <a:gd name="T67" fmla="*/ 500844 h 299"/>
                      <a:gd name="T68" fmla="*/ 402485 w 426"/>
                      <a:gd name="T69" fmla="*/ 496885 h 299"/>
                      <a:gd name="T70" fmla="*/ 380581 w 426"/>
                      <a:gd name="T71" fmla="*/ 459272 h 299"/>
                      <a:gd name="T72" fmla="*/ 375105 w 426"/>
                      <a:gd name="T73" fmla="*/ 415721 h 299"/>
                      <a:gd name="T74" fmla="*/ 368260 w 426"/>
                      <a:gd name="T75" fmla="*/ 389986 h 299"/>
                      <a:gd name="T76" fmla="*/ 357308 w 426"/>
                      <a:gd name="T77" fmla="*/ 364250 h 299"/>
                      <a:gd name="T78" fmla="*/ 343618 w 426"/>
                      <a:gd name="T79" fmla="*/ 342475 h 299"/>
                      <a:gd name="T80" fmla="*/ 325821 w 426"/>
                      <a:gd name="T81" fmla="*/ 326638 h 299"/>
                      <a:gd name="T82" fmla="*/ 303917 w 426"/>
                      <a:gd name="T83" fmla="*/ 318719 h 299"/>
                      <a:gd name="T84" fmla="*/ 279276 w 426"/>
                      <a:gd name="T85" fmla="*/ 318719 h 299"/>
                      <a:gd name="T86" fmla="*/ 257372 w 426"/>
                      <a:gd name="T87" fmla="*/ 322678 h 299"/>
                      <a:gd name="T88" fmla="*/ 236837 w 426"/>
                      <a:gd name="T89" fmla="*/ 332576 h 299"/>
                      <a:gd name="T90" fmla="*/ 219040 w 426"/>
                      <a:gd name="T91" fmla="*/ 348413 h 299"/>
                      <a:gd name="T92" fmla="*/ 193029 w 426"/>
                      <a:gd name="T93" fmla="*/ 378108 h 299"/>
                      <a:gd name="T94" fmla="*/ 161542 w 426"/>
                      <a:gd name="T95" fmla="*/ 425619 h 299"/>
                      <a:gd name="T96" fmla="*/ 143745 w 426"/>
                      <a:gd name="T97" fmla="*/ 431558 h 299"/>
                      <a:gd name="T98" fmla="*/ 136900 w 426"/>
                      <a:gd name="T99" fmla="*/ 397904 h 299"/>
                      <a:gd name="T100" fmla="*/ 123210 w 426"/>
                      <a:gd name="T101" fmla="*/ 368210 h 299"/>
                      <a:gd name="T102" fmla="*/ 104044 w 426"/>
                      <a:gd name="T103" fmla="*/ 338515 h 299"/>
                      <a:gd name="T104" fmla="*/ 68450 w 426"/>
                      <a:gd name="T105" fmla="*/ 302882 h 299"/>
                      <a:gd name="T106" fmla="*/ 32856 w 426"/>
                      <a:gd name="T107" fmla="*/ 265269 h 299"/>
                      <a:gd name="T108" fmla="*/ 10952 w 426"/>
                      <a:gd name="T109" fmla="*/ 235575 h 299"/>
                      <a:gd name="T110" fmla="*/ 20535 w 426"/>
                      <a:gd name="T111" fmla="*/ 199942 h 299"/>
                      <a:gd name="T112" fmla="*/ 62974 w 426"/>
                      <a:gd name="T113" fmla="*/ 152431 h 299"/>
                      <a:gd name="T114" fmla="*/ 102675 w 426"/>
                      <a:gd name="T115" fmla="*/ 95022 h 299"/>
                      <a:gd name="T116" fmla="*/ 134162 w 426"/>
                      <a:gd name="T117" fmla="*/ 33654 h 299"/>
                      <a:gd name="T118" fmla="*/ 245051 w 426"/>
                      <a:gd name="T119" fmla="*/ 25735 h 299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426"/>
                      <a:gd name="T181" fmla="*/ 0 h 299"/>
                      <a:gd name="T182" fmla="*/ 426 w 426"/>
                      <a:gd name="T183" fmla="*/ 299 h 299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426" h="299">
                        <a:moveTo>
                          <a:pt x="179" y="13"/>
                        </a:moveTo>
                        <a:lnTo>
                          <a:pt x="194" y="16"/>
                        </a:lnTo>
                        <a:lnTo>
                          <a:pt x="207" y="19"/>
                        </a:lnTo>
                        <a:lnTo>
                          <a:pt x="216" y="22"/>
                        </a:lnTo>
                        <a:lnTo>
                          <a:pt x="223" y="24"/>
                        </a:lnTo>
                        <a:lnTo>
                          <a:pt x="230" y="29"/>
                        </a:lnTo>
                        <a:lnTo>
                          <a:pt x="233" y="31"/>
                        </a:lnTo>
                        <a:lnTo>
                          <a:pt x="253" y="35"/>
                        </a:lnTo>
                        <a:lnTo>
                          <a:pt x="269" y="37"/>
                        </a:lnTo>
                        <a:lnTo>
                          <a:pt x="279" y="37"/>
                        </a:lnTo>
                        <a:lnTo>
                          <a:pt x="285" y="37"/>
                        </a:lnTo>
                        <a:lnTo>
                          <a:pt x="300" y="37"/>
                        </a:lnTo>
                        <a:lnTo>
                          <a:pt x="314" y="36"/>
                        </a:lnTo>
                        <a:lnTo>
                          <a:pt x="319" y="34"/>
                        </a:lnTo>
                        <a:lnTo>
                          <a:pt x="325" y="32"/>
                        </a:lnTo>
                        <a:lnTo>
                          <a:pt x="329" y="29"/>
                        </a:lnTo>
                        <a:lnTo>
                          <a:pt x="331" y="25"/>
                        </a:lnTo>
                        <a:lnTo>
                          <a:pt x="365" y="25"/>
                        </a:lnTo>
                        <a:lnTo>
                          <a:pt x="368" y="37"/>
                        </a:lnTo>
                        <a:lnTo>
                          <a:pt x="372" y="49"/>
                        </a:lnTo>
                        <a:lnTo>
                          <a:pt x="376" y="62"/>
                        </a:lnTo>
                        <a:lnTo>
                          <a:pt x="383" y="74"/>
                        </a:lnTo>
                        <a:lnTo>
                          <a:pt x="386" y="79"/>
                        </a:lnTo>
                        <a:lnTo>
                          <a:pt x="391" y="84"/>
                        </a:lnTo>
                        <a:lnTo>
                          <a:pt x="395" y="88"/>
                        </a:lnTo>
                        <a:lnTo>
                          <a:pt x="400" y="92"/>
                        </a:lnTo>
                        <a:lnTo>
                          <a:pt x="405" y="95"/>
                        </a:lnTo>
                        <a:lnTo>
                          <a:pt x="412" y="97"/>
                        </a:lnTo>
                        <a:lnTo>
                          <a:pt x="418" y="98"/>
                        </a:lnTo>
                        <a:lnTo>
                          <a:pt x="425" y="99"/>
                        </a:lnTo>
                        <a:lnTo>
                          <a:pt x="425" y="111"/>
                        </a:lnTo>
                        <a:lnTo>
                          <a:pt x="425" y="120"/>
                        </a:lnTo>
                        <a:lnTo>
                          <a:pt x="425" y="130"/>
                        </a:lnTo>
                        <a:lnTo>
                          <a:pt x="425" y="142"/>
                        </a:lnTo>
                        <a:lnTo>
                          <a:pt x="419" y="151"/>
                        </a:lnTo>
                        <a:lnTo>
                          <a:pt x="416" y="158"/>
                        </a:lnTo>
                        <a:lnTo>
                          <a:pt x="413" y="164"/>
                        </a:lnTo>
                        <a:lnTo>
                          <a:pt x="412" y="170"/>
                        </a:lnTo>
                        <a:lnTo>
                          <a:pt x="412" y="175"/>
                        </a:lnTo>
                        <a:lnTo>
                          <a:pt x="412" y="181"/>
                        </a:lnTo>
                        <a:lnTo>
                          <a:pt x="414" y="186"/>
                        </a:lnTo>
                        <a:lnTo>
                          <a:pt x="415" y="190"/>
                        </a:lnTo>
                        <a:lnTo>
                          <a:pt x="419" y="200"/>
                        </a:lnTo>
                        <a:lnTo>
                          <a:pt x="423" y="211"/>
                        </a:lnTo>
                        <a:lnTo>
                          <a:pt x="425" y="218"/>
                        </a:lnTo>
                        <a:lnTo>
                          <a:pt x="426" y="226"/>
                        </a:lnTo>
                        <a:lnTo>
                          <a:pt x="426" y="236"/>
                        </a:lnTo>
                        <a:lnTo>
                          <a:pt x="425" y="247"/>
                        </a:lnTo>
                        <a:lnTo>
                          <a:pt x="426" y="261"/>
                        </a:lnTo>
                        <a:lnTo>
                          <a:pt x="426" y="274"/>
                        </a:lnTo>
                        <a:lnTo>
                          <a:pt x="425" y="280"/>
                        </a:lnTo>
                        <a:lnTo>
                          <a:pt x="423" y="285"/>
                        </a:lnTo>
                        <a:lnTo>
                          <a:pt x="418" y="292"/>
                        </a:lnTo>
                        <a:lnTo>
                          <a:pt x="412" y="296"/>
                        </a:lnTo>
                        <a:lnTo>
                          <a:pt x="385" y="296"/>
                        </a:lnTo>
                        <a:lnTo>
                          <a:pt x="380" y="298"/>
                        </a:lnTo>
                        <a:lnTo>
                          <a:pt x="375" y="299"/>
                        </a:lnTo>
                        <a:lnTo>
                          <a:pt x="370" y="299"/>
                        </a:lnTo>
                        <a:lnTo>
                          <a:pt x="365" y="297"/>
                        </a:lnTo>
                        <a:lnTo>
                          <a:pt x="360" y="296"/>
                        </a:lnTo>
                        <a:lnTo>
                          <a:pt x="356" y="293"/>
                        </a:lnTo>
                        <a:lnTo>
                          <a:pt x="351" y="290"/>
                        </a:lnTo>
                        <a:lnTo>
                          <a:pt x="347" y="286"/>
                        </a:lnTo>
                        <a:lnTo>
                          <a:pt x="338" y="278"/>
                        </a:lnTo>
                        <a:lnTo>
                          <a:pt x="330" y="269"/>
                        </a:lnTo>
                        <a:lnTo>
                          <a:pt x="324" y="261"/>
                        </a:lnTo>
                        <a:lnTo>
                          <a:pt x="318" y="253"/>
                        </a:lnTo>
                        <a:lnTo>
                          <a:pt x="311" y="253"/>
                        </a:lnTo>
                        <a:lnTo>
                          <a:pt x="304" y="252"/>
                        </a:lnTo>
                        <a:lnTo>
                          <a:pt x="294" y="251"/>
                        </a:lnTo>
                        <a:lnTo>
                          <a:pt x="279" y="247"/>
                        </a:lnTo>
                        <a:lnTo>
                          <a:pt x="278" y="232"/>
                        </a:lnTo>
                        <a:lnTo>
                          <a:pt x="275" y="217"/>
                        </a:lnTo>
                        <a:lnTo>
                          <a:pt x="274" y="210"/>
                        </a:lnTo>
                        <a:lnTo>
                          <a:pt x="272" y="203"/>
                        </a:lnTo>
                        <a:lnTo>
                          <a:pt x="269" y="197"/>
                        </a:lnTo>
                        <a:lnTo>
                          <a:pt x="266" y="190"/>
                        </a:lnTo>
                        <a:lnTo>
                          <a:pt x="261" y="184"/>
                        </a:lnTo>
                        <a:lnTo>
                          <a:pt x="257" y="179"/>
                        </a:lnTo>
                        <a:lnTo>
                          <a:pt x="251" y="173"/>
                        </a:lnTo>
                        <a:lnTo>
                          <a:pt x="245" y="168"/>
                        </a:lnTo>
                        <a:lnTo>
                          <a:pt x="238" y="165"/>
                        </a:lnTo>
                        <a:lnTo>
                          <a:pt x="230" y="162"/>
                        </a:lnTo>
                        <a:lnTo>
                          <a:pt x="222" y="161"/>
                        </a:lnTo>
                        <a:lnTo>
                          <a:pt x="213" y="160"/>
                        </a:lnTo>
                        <a:lnTo>
                          <a:pt x="204" y="161"/>
                        </a:lnTo>
                        <a:lnTo>
                          <a:pt x="195" y="162"/>
                        </a:lnTo>
                        <a:lnTo>
                          <a:pt x="188" y="163"/>
                        </a:lnTo>
                        <a:lnTo>
                          <a:pt x="181" y="166"/>
                        </a:lnTo>
                        <a:lnTo>
                          <a:pt x="173" y="168"/>
                        </a:lnTo>
                        <a:lnTo>
                          <a:pt x="167" y="172"/>
                        </a:lnTo>
                        <a:lnTo>
                          <a:pt x="160" y="176"/>
                        </a:lnTo>
                        <a:lnTo>
                          <a:pt x="155" y="181"/>
                        </a:lnTo>
                        <a:lnTo>
                          <a:pt x="141" y="191"/>
                        </a:lnTo>
                        <a:lnTo>
                          <a:pt x="131" y="202"/>
                        </a:lnTo>
                        <a:lnTo>
                          <a:pt x="118" y="215"/>
                        </a:lnTo>
                        <a:lnTo>
                          <a:pt x="106" y="228"/>
                        </a:lnTo>
                        <a:lnTo>
                          <a:pt x="105" y="218"/>
                        </a:lnTo>
                        <a:lnTo>
                          <a:pt x="103" y="209"/>
                        </a:lnTo>
                        <a:lnTo>
                          <a:pt x="100" y="201"/>
                        </a:lnTo>
                        <a:lnTo>
                          <a:pt x="95" y="193"/>
                        </a:lnTo>
                        <a:lnTo>
                          <a:pt x="90" y="186"/>
                        </a:lnTo>
                        <a:lnTo>
                          <a:pt x="83" y="179"/>
                        </a:lnTo>
                        <a:lnTo>
                          <a:pt x="76" y="171"/>
                        </a:lnTo>
                        <a:lnTo>
                          <a:pt x="68" y="165"/>
                        </a:lnTo>
                        <a:lnTo>
                          <a:pt x="50" y="153"/>
                        </a:lnTo>
                        <a:lnTo>
                          <a:pt x="33" y="140"/>
                        </a:lnTo>
                        <a:lnTo>
                          <a:pt x="24" y="134"/>
                        </a:lnTo>
                        <a:lnTo>
                          <a:pt x="15" y="127"/>
                        </a:lnTo>
                        <a:lnTo>
                          <a:pt x="8" y="119"/>
                        </a:lnTo>
                        <a:lnTo>
                          <a:pt x="0" y="111"/>
                        </a:lnTo>
                        <a:lnTo>
                          <a:pt x="15" y="101"/>
                        </a:lnTo>
                        <a:lnTo>
                          <a:pt x="31" y="90"/>
                        </a:lnTo>
                        <a:lnTo>
                          <a:pt x="46" y="77"/>
                        </a:lnTo>
                        <a:lnTo>
                          <a:pt x="60" y="62"/>
                        </a:lnTo>
                        <a:lnTo>
                          <a:pt x="75" y="48"/>
                        </a:lnTo>
                        <a:lnTo>
                          <a:pt x="87" y="33"/>
                        </a:lnTo>
                        <a:lnTo>
                          <a:pt x="98" y="17"/>
                        </a:lnTo>
                        <a:lnTo>
                          <a:pt x="106" y="0"/>
                        </a:lnTo>
                        <a:lnTo>
                          <a:pt x="179" y="13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92" name="Freeform 465"/>
                  <p:cNvSpPr>
                    <a:spLocks/>
                  </p:cNvSpPr>
                  <p:nvPr>
                    <p:custDataLst>
                      <p:tags r:id="rId44"/>
                    </p:custDataLst>
                  </p:nvPr>
                </p:nvSpPr>
                <p:spPr bwMode="auto">
                  <a:xfrm>
                    <a:off x="2870419" y="2763903"/>
                    <a:ext cx="504674" cy="486379"/>
                  </a:xfrm>
                  <a:custGeom>
                    <a:avLst/>
                    <a:gdLst>
                      <a:gd name="T0" fmla="*/ 74433 w 359"/>
                      <a:gd name="T1" fmla="*/ 472705 h 394"/>
                      <a:gd name="T2" fmla="*/ 74433 w 359"/>
                      <a:gd name="T3" fmla="*/ 443006 h 394"/>
                      <a:gd name="T4" fmla="*/ 74433 w 359"/>
                      <a:gd name="T5" fmla="*/ 412070 h 394"/>
                      <a:gd name="T6" fmla="*/ 70220 w 359"/>
                      <a:gd name="T7" fmla="*/ 386083 h 394"/>
                      <a:gd name="T8" fmla="*/ 60389 w 359"/>
                      <a:gd name="T9" fmla="*/ 362572 h 394"/>
                      <a:gd name="T10" fmla="*/ 49154 w 359"/>
                      <a:gd name="T11" fmla="*/ 342773 h 394"/>
                      <a:gd name="T12" fmla="*/ 18257 w 359"/>
                      <a:gd name="T13" fmla="*/ 303174 h 394"/>
                      <a:gd name="T14" fmla="*/ 0 w 359"/>
                      <a:gd name="T15" fmla="*/ 228928 h 394"/>
                      <a:gd name="T16" fmla="*/ 46345 w 359"/>
                      <a:gd name="T17" fmla="*/ 223978 h 394"/>
                      <a:gd name="T18" fmla="*/ 56176 w 359"/>
                      <a:gd name="T19" fmla="*/ 209129 h 394"/>
                      <a:gd name="T20" fmla="*/ 57580 w 359"/>
                      <a:gd name="T21" fmla="*/ 185617 h 394"/>
                      <a:gd name="T22" fmla="*/ 53367 w 359"/>
                      <a:gd name="T23" fmla="*/ 132407 h 394"/>
                      <a:gd name="T24" fmla="*/ 43536 w 359"/>
                      <a:gd name="T25" fmla="*/ 80434 h 394"/>
                      <a:gd name="T26" fmla="*/ 44941 w 359"/>
                      <a:gd name="T27" fmla="*/ 58160 h 394"/>
                      <a:gd name="T28" fmla="*/ 50558 w 359"/>
                      <a:gd name="T29" fmla="*/ 44548 h 394"/>
                      <a:gd name="T30" fmla="*/ 168528 w 359"/>
                      <a:gd name="T31" fmla="*/ 38361 h 394"/>
                      <a:gd name="T32" fmla="*/ 171337 w 359"/>
                      <a:gd name="T33" fmla="*/ 27224 h 394"/>
                      <a:gd name="T34" fmla="*/ 179763 w 359"/>
                      <a:gd name="T35" fmla="*/ 17324 h 394"/>
                      <a:gd name="T36" fmla="*/ 196616 w 359"/>
                      <a:gd name="T37" fmla="*/ 0 h 394"/>
                      <a:gd name="T38" fmla="*/ 199425 w 359"/>
                      <a:gd name="T39" fmla="*/ 22274 h 394"/>
                      <a:gd name="T40" fmla="*/ 199425 w 359"/>
                      <a:gd name="T41" fmla="*/ 32174 h 394"/>
                      <a:gd name="T42" fmla="*/ 196616 w 359"/>
                      <a:gd name="T43" fmla="*/ 38361 h 394"/>
                      <a:gd name="T44" fmla="*/ 235939 w 359"/>
                      <a:gd name="T45" fmla="*/ 38361 h 394"/>
                      <a:gd name="T46" fmla="*/ 261218 w 359"/>
                      <a:gd name="T47" fmla="*/ 38361 h 394"/>
                      <a:gd name="T48" fmla="*/ 300541 w 359"/>
                      <a:gd name="T49" fmla="*/ 47023 h 394"/>
                      <a:gd name="T50" fmla="*/ 327225 w 359"/>
                      <a:gd name="T51" fmla="*/ 60635 h 394"/>
                      <a:gd name="T52" fmla="*/ 345482 w 359"/>
                      <a:gd name="T53" fmla="*/ 71772 h 394"/>
                      <a:gd name="T54" fmla="*/ 363739 w 359"/>
                      <a:gd name="T55" fmla="*/ 75484 h 394"/>
                      <a:gd name="T56" fmla="*/ 376379 w 359"/>
                      <a:gd name="T57" fmla="*/ 73009 h 394"/>
                      <a:gd name="T58" fmla="*/ 386210 w 359"/>
                      <a:gd name="T59" fmla="*/ 66822 h 394"/>
                      <a:gd name="T60" fmla="*/ 401658 w 359"/>
                      <a:gd name="T61" fmla="*/ 45786 h 394"/>
                      <a:gd name="T62" fmla="*/ 438172 w 359"/>
                      <a:gd name="T63" fmla="*/ 64347 h 394"/>
                      <a:gd name="T64" fmla="*/ 456429 w 359"/>
                      <a:gd name="T65" fmla="*/ 73009 h 394"/>
                      <a:gd name="T66" fmla="*/ 474687 w 359"/>
                      <a:gd name="T67" fmla="*/ 75484 h 394"/>
                      <a:gd name="T68" fmla="*/ 495753 w 359"/>
                      <a:gd name="T69" fmla="*/ 199229 h 394"/>
                      <a:gd name="T70" fmla="*/ 474687 w 359"/>
                      <a:gd name="T71" fmla="*/ 228928 h 394"/>
                      <a:gd name="T72" fmla="*/ 453621 w 359"/>
                      <a:gd name="T73" fmla="*/ 254914 h 394"/>
                      <a:gd name="T74" fmla="*/ 442385 w 359"/>
                      <a:gd name="T75" fmla="*/ 277188 h 394"/>
                      <a:gd name="T76" fmla="*/ 439577 w 359"/>
                      <a:gd name="T77" fmla="*/ 295750 h 394"/>
                      <a:gd name="T78" fmla="*/ 439577 w 359"/>
                      <a:gd name="T79" fmla="*/ 315549 h 394"/>
                      <a:gd name="T80" fmla="*/ 450812 w 359"/>
                      <a:gd name="T81" fmla="*/ 337823 h 394"/>
                      <a:gd name="T82" fmla="*/ 464856 w 359"/>
                      <a:gd name="T83" fmla="*/ 362572 h 394"/>
                      <a:gd name="T84" fmla="*/ 473282 w 359"/>
                      <a:gd name="T85" fmla="*/ 382371 h 394"/>
                      <a:gd name="T86" fmla="*/ 473282 w 359"/>
                      <a:gd name="T87" fmla="*/ 397220 h 394"/>
                      <a:gd name="T88" fmla="*/ 463451 w 359"/>
                      <a:gd name="T89" fmla="*/ 417020 h 394"/>
                      <a:gd name="T90" fmla="*/ 457834 w 359"/>
                      <a:gd name="T91" fmla="*/ 434344 h 394"/>
                      <a:gd name="T92" fmla="*/ 448003 w 359"/>
                      <a:gd name="T93" fmla="*/ 443006 h 394"/>
                      <a:gd name="T94" fmla="*/ 432555 w 359"/>
                      <a:gd name="T95" fmla="*/ 440531 h 394"/>
                      <a:gd name="T96" fmla="*/ 418511 w 359"/>
                      <a:gd name="T97" fmla="*/ 433106 h 394"/>
                      <a:gd name="T98" fmla="*/ 403062 w 359"/>
                      <a:gd name="T99" fmla="*/ 420732 h 394"/>
                      <a:gd name="T100" fmla="*/ 389018 w 359"/>
                      <a:gd name="T101" fmla="*/ 414545 h 394"/>
                      <a:gd name="T102" fmla="*/ 373570 w 359"/>
                      <a:gd name="T103" fmla="*/ 412070 h 394"/>
                      <a:gd name="T104" fmla="*/ 345482 w 359"/>
                      <a:gd name="T105" fmla="*/ 412070 h 394"/>
                      <a:gd name="T106" fmla="*/ 310372 w 359"/>
                      <a:gd name="T107" fmla="*/ 415782 h 394"/>
                      <a:gd name="T108" fmla="*/ 254196 w 359"/>
                      <a:gd name="T109" fmla="*/ 424444 h 394"/>
                      <a:gd name="T110" fmla="*/ 183976 w 359"/>
                      <a:gd name="T111" fmla="*/ 444243 h 394"/>
                      <a:gd name="T112" fmla="*/ 120778 w 359"/>
                      <a:gd name="T113" fmla="*/ 464043 h 394"/>
                      <a:gd name="T114" fmla="*/ 74433 w 359"/>
                      <a:gd name="T115" fmla="*/ 487554 h 394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359"/>
                      <a:gd name="T175" fmla="*/ 0 h 394"/>
                      <a:gd name="T176" fmla="*/ 359 w 359"/>
                      <a:gd name="T177" fmla="*/ 394 h 394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359" h="394">
                        <a:moveTo>
                          <a:pt x="53" y="394"/>
                        </a:moveTo>
                        <a:lnTo>
                          <a:pt x="53" y="382"/>
                        </a:lnTo>
                        <a:lnTo>
                          <a:pt x="53" y="370"/>
                        </a:lnTo>
                        <a:lnTo>
                          <a:pt x="53" y="358"/>
                        </a:lnTo>
                        <a:lnTo>
                          <a:pt x="53" y="346"/>
                        </a:lnTo>
                        <a:lnTo>
                          <a:pt x="53" y="333"/>
                        </a:lnTo>
                        <a:lnTo>
                          <a:pt x="52" y="322"/>
                        </a:lnTo>
                        <a:lnTo>
                          <a:pt x="50" y="312"/>
                        </a:lnTo>
                        <a:lnTo>
                          <a:pt x="46" y="302"/>
                        </a:lnTo>
                        <a:lnTo>
                          <a:pt x="43" y="293"/>
                        </a:lnTo>
                        <a:lnTo>
                          <a:pt x="40" y="284"/>
                        </a:lnTo>
                        <a:lnTo>
                          <a:pt x="35" y="277"/>
                        </a:lnTo>
                        <a:lnTo>
                          <a:pt x="32" y="270"/>
                        </a:lnTo>
                        <a:lnTo>
                          <a:pt x="13" y="245"/>
                        </a:lnTo>
                        <a:lnTo>
                          <a:pt x="0" y="222"/>
                        </a:lnTo>
                        <a:lnTo>
                          <a:pt x="0" y="185"/>
                        </a:lnTo>
                        <a:lnTo>
                          <a:pt x="27" y="185"/>
                        </a:lnTo>
                        <a:lnTo>
                          <a:pt x="33" y="181"/>
                        </a:lnTo>
                        <a:lnTo>
                          <a:pt x="38" y="174"/>
                        </a:lnTo>
                        <a:lnTo>
                          <a:pt x="40" y="169"/>
                        </a:lnTo>
                        <a:lnTo>
                          <a:pt x="41" y="163"/>
                        </a:lnTo>
                        <a:lnTo>
                          <a:pt x="41" y="150"/>
                        </a:lnTo>
                        <a:lnTo>
                          <a:pt x="40" y="136"/>
                        </a:lnTo>
                        <a:lnTo>
                          <a:pt x="38" y="107"/>
                        </a:lnTo>
                        <a:lnTo>
                          <a:pt x="32" y="79"/>
                        </a:lnTo>
                        <a:lnTo>
                          <a:pt x="31" y="65"/>
                        </a:lnTo>
                        <a:lnTo>
                          <a:pt x="31" y="52"/>
                        </a:lnTo>
                        <a:lnTo>
                          <a:pt x="32" y="47"/>
                        </a:lnTo>
                        <a:lnTo>
                          <a:pt x="34" y="41"/>
                        </a:lnTo>
                        <a:lnTo>
                          <a:pt x="36" y="36"/>
                        </a:lnTo>
                        <a:lnTo>
                          <a:pt x="40" y="31"/>
                        </a:lnTo>
                        <a:lnTo>
                          <a:pt x="120" y="31"/>
                        </a:lnTo>
                        <a:lnTo>
                          <a:pt x="120" y="27"/>
                        </a:lnTo>
                        <a:lnTo>
                          <a:pt x="122" y="22"/>
                        </a:lnTo>
                        <a:lnTo>
                          <a:pt x="124" y="18"/>
                        </a:lnTo>
                        <a:lnTo>
                          <a:pt x="128" y="14"/>
                        </a:lnTo>
                        <a:lnTo>
                          <a:pt x="133" y="6"/>
                        </a:lnTo>
                        <a:lnTo>
                          <a:pt x="140" y="0"/>
                        </a:lnTo>
                        <a:lnTo>
                          <a:pt x="141" y="9"/>
                        </a:lnTo>
                        <a:lnTo>
                          <a:pt x="142" y="18"/>
                        </a:lnTo>
                        <a:lnTo>
                          <a:pt x="143" y="22"/>
                        </a:lnTo>
                        <a:lnTo>
                          <a:pt x="142" y="26"/>
                        </a:lnTo>
                        <a:lnTo>
                          <a:pt x="142" y="29"/>
                        </a:lnTo>
                        <a:lnTo>
                          <a:pt x="140" y="31"/>
                        </a:lnTo>
                        <a:lnTo>
                          <a:pt x="153" y="31"/>
                        </a:lnTo>
                        <a:lnTo>
                          <a:pt x="168" y="31"/>
                        </a:lnTo>
                        <a:lnTo>
                          <a:pt x="180" y="31"/>
                        </a:lnTo>
                        <a:lnTo>
                          <a:pt x="186" y="31"/>
                        </a:lnTo>
                        <a:lnTo>
                          <a:pt x="202" y="34"/>
                        </a:lnTo>
                        <a:lnTo>
                          <a:pt x="214" y="38"/>
                        </a:lnTo>
                        <a:lnTo>
                          <a:pt x="224" y="43"/>
                        </a:lnTo>
                        <a:lnTo>
                          <a:pt x="233" y="49"/>
                        </a:lnTo>
                        <a:lnTo>
                          <a:pt x="240" y="53"/>
                        </a:lnTo>
                        <a:lnTo>
                          <a:pt x="246" y="58"/>
                        </a:lnTo>
                        <a:lnTo>
                          <a:pt x="252" y="60"/>
                        </a:lnTo>
                        <a:lnTo>
                          <a:pt x="259" y="61"/>
                        </a:lnTo>
                        <a:lnTo>
                          <a:pt x="264" y="61"/>
                        </a:lnTo>
                        <a:lnTo>
                          <a:pt x="268" y="59"/>
                        </a:lnTo>
                        <a:lnTo>
                          <a:pt x="271" y="57"/>
                        </a:lnTo>
                        <a:lnTo>
                          <a:pt x="275" y="54"/>
                        </a:lnTo>
                        <a:lnTo>
                          <a:pt x="280" y="46"/>
                        </a:lnTo>
                        <a:lnTo>
                          <a:pt x="286" y="37"/>
                        </a:lnTo>
                        <a:lnTo>
                          <a:pt x="300" y="44"/>
                        </a:lnTo>
                        <a:lnTo>
                          <a:pt x="312" y="52"/>
                        </a:lnTo>
                        <a:lnTo>
                          <a:pt x="319" y="55"/>
                        </a:lnTo>
                        <a:lnTo>
                          <a:pt x="325" y="59"/>
                        </a:lnTo>
                        <a:lnTo>
                          <a:pt x="332" y="61"/>
                        </a:lnTo>
                        <a:lnTo>
                          <a:pt x="338" y="61"/>
                        </a:lnTo>
                        <a:lnTo>
                          <a:pt x="359" y="148"/>
                        </a:lnTo>
                        <a:lnTo>
                          <a:pt x="353" y="161"/>
                        </a:lnTo>
                        <a:lnTo>
                          <a:pt x="346" y="173"/>
                        </a:lnTo>
                        <a:lnTo>
                          <a:pt x="338" y="185"/>
                        </a:lnTo>
                        <a:lnTo>
                          <a:pt x="331" y="195"/>
                        </a:lnTo>
                        <a:lnTo>
                          <a:pt x="323" y="206"/>
                        </a:lnTo>
                        <a:lnTo>
                          <a:pt x="318" y="218"/>
                        </a:lnTo>
                        <a:lnTo>
                          <a:pt x="315" y="224"/>
                        </a:lnTo>
                        <a:lnTo>
                          <a:pt x="314" y="231"/>
                        </a:lnTo>
                        <a:lnTo>
                          <a:pt x="313" y="239"/>
                        </a:lnTo>
                        <a:lnTo>
                          <a:pt x="312" y="247"/>
                        </a:lnTo>
                        <a:lnTo>
                          <a:pt x="313" y="255"/>
                        </a:lnTo>
                        <a:lnTo>
                          <a:pt x="316" y="263"/>
                        </a:lnTo>
                        <a:lnTo>
                          <a:pt x="321" y="273"/>
                        </a:lnTo>
                        <a:lnTo>
                          <a:pt x="325" y="283"/>
                        </a:lnTo>
                        <a:lnTo>
                          <a:pt x="331" y="293"/>
                        </a:lnTo>
                        <a:lnTo>
                          <a:pt x="335" y="302"/>
                        </a:lnTo>
                        <a:lnTo>
                          <a:pt x="337" y="309"/>
                        </a:lnTo>
                        <a:lnTo>
                          <a:pt x="338" y="315"/>
                        </a:lnTo>
                        <a:lnTo>
                          <a:pt x="337" y="321"/>
                        </a:lnTo>
                        <a:lnTo>
                          <a:pt x="332" y="331"/>
                        </a:lnTo>
                        <a:lnTo>
                          <a:pt x="330" y="337"/>
                        </a:lnTo>
                        <a:lnTo>
                          <a:pt x="327" y="343"/>
                        </a:lnTo>
                        <a:lnTo>
                          <a:pt x="326" y="351"/>
                        </a:lnTo>
                        <a:lnTo>
                          <a:pt x="325" y="358"/>
                        </a:lnTo>
                        <a:lnTo>
                          <a:pt x="319" y="358"/>
                        </a:lnTo>
                        <a:lnTo>
                          <a:pt x="313" y="357"/>
                        </a:lnTo>
                        <a:lnTo>
                          <a:pt x="308" y="356"/>
                        </a:lnTo>
                        <a:lnTo>
                          <a:pt x="304" y="354"/>
                        </a:lnTo>
                        <a:lnTo>
                          <a:pt x="298" y="350"/>
                        </a:lnTo>
                        <a:lnTo>
                          <a:pt x="292" y="346"/>
                        </a:lnTo>
                        <a:lnTo>
                          <a:pt x="287" y="340"/>
                        </a:lnTo>
                        <a:lnTo>
                          <a:pt x="280" y="336"/>
                        </a:lnTo>
                        <a:lnTo>
                          <a:pt x="277" y="335"/>
                        </a:lnTo>
                        <a:lnTo>
                          <a:pt x="271" y="334"/>
                        </a:lnTo>
                        <a:lnTo>
                          <a:pt x="266" y="333"/>
                        </a:lnTo>
                        <a:lnTo>
                          <a:pt x="259" y="333"/>
                        </a:lnTo>
                        <a:lnTo>
                          <a:pt x="246" y="333"/>
                        </a:lnTo>
                        <a:lnTo>
                          <a:pt x="234" y="334"/>
                        </a:lnTo>
                        <a:lnTo>
                          <a:pt x="221" y="336"/>
                        </a:lnTo>
                        <a:lnTo>
                          <a:pt x="208" y="338"/>
                        </a:lnTo>
                        <a:lnTo>
                          <a:pt x="181" y="343"/>
                        </a:lnTo>
                        <a:lnTo>
                          <a:pt x="155" y="351"/>
                        </a:lnTo>
                        <a:lnTo>
                          <a:pt x="131" y="359"/>
                        </a:lnTo>
                        <a:lnTo>
                          <a:pt x="107" y="367"/>
                        </a:lnTo>
                        <a:lnTo>
                          <a:pt x="86" y="375"/>
                        </a:lnTo>
                        <a:lnTo>
                          <a:pt x="66" y="382"/>
                        </a:lnTo>
                        <a:lnTo>
                          <a:pt x="53" y="394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814" name="Freeform 466">
                    <a:hlinkClick r:id="rId57" action="ppaction://hlinkpres?slideindex=1&amp;slidetitle=" tooltip="Kenya"/>
                  </p:cNvPr>
                  <p:cNvSpPr>
                    <a:spLocks/>
                  </p:cNvSpPr>
                  <p:nvPr>
                    <p:custDataLst>
                      <p:tags r:id="rId45"/>
                    </p:custDataLst>
                  </p:nvPr>
                </p:nvSpPr>
                <p:spPr bwMode="auto">
                  <a:xfrm>
                    <a:off x="6265303" y="3224977"/>
                    <a:ext cx="610059" cy="641322"/>
                  </a:xfrm>
                  <a:custGeom>
                    <a:avLst/>
                    <a:gdLst>
                      <a:gd name="T0" fmla="*/ 2147483647 w 449"/>
                      <a:gd name="T1" fmla="*/ 2147483647 h 523"/>
                      <a:gd name="T2" fmla="*/ 2147483647 w 449"/>
                      <a:gd name="T3" fmla="*/ 2147483647 h 523"/>
                      <a:gd name="T4" fmla="*/ 2147483647 w 449"/>
                      <a:gd name="T5" fmla="*/ 2147483647 h 523"/>
                      <a:gd name="T6" fmla="*/ 2147483647 w 449"/>
                      <a:gd name="T7" fmla="*/ 2147483647 h 523"/>
                      <a:gd name="T8" fmla="*/ 2147483647 w 449"/>
                      <a:gd name="T9" fmla="*/ 2147483647 h 523"/>
                      <a:gd name="T10" fmla="*/ 2147483647 w 449"/>
                      <a:gd name="T11" fmla="*/ 2147483647 h 523"/>
                      <a:gd name="T12" fmla="*/ 2147483647 w 449"/>
                      <a:gd name="T13" fmla="*/ 2147483647 h 523"/>
                      <a:gd name="T14" fmla="*/ 2147483647 w 449"/>
                      <a:gd name="T15" fmla="*/ 2147483647 h 523"/>
                      <a:gd name="T16" fmla="*/ 2147483647 w 449"/>
                      <a:gd name="T17" fmla="*/ 2147483647 h 523"/>
                      <a:gd name="T18" fmla="*/ 2147483647 w 449"/>
                      <a:gd name="T19" fmla="*/ 2147483647 h 523"/>
                      <a:gd name="T20" fmla="*/ 2147483647 w 449"/>
                      <a:gd name="T21" fmla="*/ 2147483647 h 523"/>
                      <a:gd name="T22" fmla="*/ 2147483647 w 449"/>
                      <a:gd name="T23" fmla="*/ 2147483647 h 523"/>
                      <a:gd name="T24" fmla="*/ 2147483647 w 449"/>
                      <a:gd name="T25" fmla="*/ 2147483647 h 523"/>
                      <a:gd name="T26" fmla="*/ 2147483647 w 449"/>
                      <a:gd name="T27" fmla="*/ 2147483647 h 523"/>
                      <a:gd name="T28" fmla="*/ 2147483647 w 449"/>
                      <a:gd name="T29" fmla="*/ 2147483647 h 523"/>
                      <a:gd name="T30" fmla="*/ 2147483647 w 449"/>
                      <a:gd name="T31" fmla="*/ 2147483647 h 523"/>
                      <a:gd name="T32" fmla="*/ 2147483647 w 449"/>
                      <a:gd name="T33" fmla="*/ 2147483647 h 523"/>
                      <a:gd name="T34" fmla="*/ 2147483647 w 449"/>
                      <a:gd name="T35" fmla="*/ 2147483647 h 523"/>
                      <a:gd name="T36" fmla="*/ 2147483647 w 449"/>
                      <a:gd name="T37" fmla="*/ 2147483647 h 523"/>
                      <a:gd name="T38" fmla="*/ 2147483647 w 449"/>
                      <a:gd name="T39" fmla="*/ 2147483647 h 523"/>
                      <a:gd name="T40" fmla="*/ 2147483647 w 449"/>
                      <a:gd name="T41" fmla="*/ 2147483647 h 523"/>
                      <a:gd name="T42" fmla="*/ 2147483647 w 449"/>
                      <a:gd name="T43" fmla="*/ 2147483647 h 523"/>
                      <a:gd name="T44" fmla="*/ 2147483647 w 449"/>
                      <a:gd name="T45" fmla="*/ 2147483647 h 523"/>
                      <a:gd name="T46" fmla="*/ 2147483647 w 449"/>
                      <a:gd name="T47" fmla="*/ 2147483647 h 523"/>
                      <a:gd name="T48" fmla="*/ 2147483647 w 449"/>
                      <a:gd name="T49" fmla="*/ 2147483647 h 523"/>
                      <a:gd name="T50" fmla="*/ 2147483647 w 449"/>
                      <a:gd name="T51" fmla="*/ 0 h 523"/>
                      <a:gd name="T52" fmla="*/ 2147483647 w 449"/>
                      <a:gd name="T53" fmla="*/ 0 h 523"/>
                      <a:gd name="T54" fmla="*/ 2147483647 w 449"/>
                      <a:gd name="T55" fmla="*/ 0 h 523"/>
                      <a:gd name="T56" fmla="*/ 2147483647 w 449"/>
                      <a:gd name="T57" fmla="*/ 2147483647 h 523"/>
                      <a:gd name="T58" fmla="*/ 2147483647 w 449"/>
                      <a:gd name="T59" fmla="*/ 2147483647 h 523"/>
                      <a:gd name="T60" fmla="*/ 2147483647 w 449"/>
                      <a:gd name="T61" fmla="*/ 2147483647 h 523"/>
                      <a:gd name="T62" fmla="*/ 2147483647 w 449"/>
                      <a:gd name="T63" fmla="*/ 2147483647 h 523"/>
                      <a:gd name="T64" fmla="*/ 2147483647 w 449"/>
                      <a:gd name="T65" fmla="*/ 2147483647 h 523"/>
                      <a:gd name="T66" fmla="*/ 2147483647 w 449"/>
                      <a:gd name="T67" fmla="*/ 2147483647 h 523"/>
                      <a:gd name="T68" fmla="*/ 2147483647 w 449"/>
                      <a:gd name="T69" fmla="*/ 2147483647 h 523"/>
                      <a:gd name="T70" fmla="*/ 2147483647 w 449"/>
                      <a:gd name="T71" fmla="*/ 2147483647 h 523"/>
                      <a:gd name="T72" fmla="*/ 2147483647 w 449"/>
                      <a:gd name="T73" fmla="*/ 2147483647 h 523"/>
                      <a:gd name="T74" fmla="*/ 2147483647 w 449"/>
                      <a:gd name="T75" fmla="*/ 2147483647 h 523"/>
                      <a:gd name="T76" fmla="*/ 2147483647 w 449"/>
                      <a:gd name="T77" fmla="*/ 2147483647 h 523"/>
                      <a:gd name="T78" fmla="*/ 2147483647 w 449"/>
                      <a:gd name="T79" fmla="*/ 2147483647 h 523"/>
                      <a:gd name="T80" fmla="*/ 2147483647 w 449"/>
                      <a:gd name="T81" fmla="*/ 2147483647 h 523"/>
                      <a:gd name="T82" fmla="*/ 2147483647 w 449"/>
                      <a:gd name="T83" fmla="*/ 2147483647 h 523"/>
                      <a:gd name="T84" fmla="*/ 2147483647 w 449"/>
                      <a:gd name="T85" fmla="*/ 2147483647 h 523"/>
                      <a:gd name="T86" fmla="*/ 2147483647 w 449"/>
                      <a:gd name="T87" fmla="*/ 2147483647 h 523"/>
                      <a:gd name="T88" fmla="*/ 2147483647 w 449"/>
                      <a:gd name="T89" fmla="*/ 2147483647 h 523"/>
                      <a:gd name="T90" fmla="*/ 2147483647 w 449"/>
                      <a:gd name="T91" fmla="*/ 2147483647 h 523"/>
                      <a:gd name="T92" fmla="*/ 2147483647 w 449"/>
                      <a:gd name="T93" fmla="*/ 2147483647 h 523"/>
                      <a:gd name="T94" fmla="*/ 2147483647 w 449"/>
                      <a:gd name="T95" fmla="*/ 2147483647 h 523"/>
                      <a:gd name="T96" fmla="*/ 2147483647 w 449"/>
                      <a:gd name="T97" fmla="*/ 2147483647 h 523"/>
                      <a:gd name="T98" fmla="*/ 2147483647 w 449"/>
                      <a:gd name="T99" fmla="*/ 2147483647 h 523"/>
                      <a:gd name="T100" fmla="*/ 2147483647 w 449"/>
                      <a:gd name="T101" fmla="*/ 2147483647 h 523"/>
                      <a:gd name="T102" fmla="*/ 2147483647 w 449"/>
                      <a:gd name="T103" fmla="*/ 2147483647 h 523"/>
                      <a:gd name="T104" fmla="*/ 2147483647 w 449"/>
                      <a:gd name="T105" fmla="*/ 2147483647 h 523"/>
                      <a:gd name="T106" fmla="*/ 2147483647 w 449"/>
                      <a:gd name="T107" fmla="*/ 2147483647 h 523"/>
                      <a:gd name="T108" fmla="*/ 2147483647 w 449"/>
                      <a:gd name="T109" fmla="*/ 2147483647 h 523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449"/>
                      <a:gd name="T166" fmla="*/ 0 h 523"/>
                      <a:gd name="T167" fmla="*/ 449 w 449"/>
                      <a:gd name="T168" fmla="*/ 523 h 523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449" h="523">
                        <a:moveTo>
                          <a:pt x="410" y="370"/>
                        </a:moveTo>
                        <a:lnTo>
                          <a:pt x="410" y="105"/>
                        </a:lnTo>
                        <a:lnTo>
                          <a:pt x="407" y="102"/>
                        </a:lnTo>
                        <a:lnTo>
                          <a:pt x="405" y="98"/>
                        </a:lnTo>
                        <a:lnTo>
                          <a:pt x="405" y="95"/>
                        </a:lnTo>
                        <a:lnTo>
                          <a:pt x="408" y="92"/>
                        </a:lnTo>
                        <a:lnTo>
                          <a:pt x="413" y="84"/>
                        </a:lnTo>
                        <a:lnTo>
                          <a:pt x="422" y="77"/>
                        </a:lnTo>
                        <a:lnTo>
                          <a:pt x="432" y="70"/>
                        </a:lnTo>
                        <a:lnTo>
                          <a:pt x="441" y="60"/>
                        </a:lnTo>
                        <a:lnTo>
                          <a:pt x="444" y="55"/>
                        </a:lnTo>
                        <a:lnTo>
                          <a:pt x="447" y="50"/>
                        </a:lnTo>
                        <a:lnTo>
                          <a:pt x="448" y="44"/>
                        </a:lnTo>
                        <a:lnTo>
                          <a:pt x="449" y="37"/>
                        </a:lnTo>
                        <a:lnTo>
                          <a:pt x="438" y="37"/>
                        </a:lnTo>
                        <a:lnTo>
                          <a:pt x="432" y="34"/>
                        </a:lnTo>
                        <a:lnTo>
                          <a:pt x="426" y="32"/>
                        </a:lnTo>
                        <a:lnTo>
                          <a:pt x="422" y="27"/>
                        </a:lnTo>
                        <a:lnTo>
                          <a:pt x="418" y="24"/>
                        </a:lnTo>
                        <a:lnTo>
                          <a:pt x="411" y="21"/>
                        </a:lnTo>
                        <a:lnTo>
                          <a:pt x="402" y="19"/>
                        </a:lnTo>
                        <a:lnTo>
                          <a:pt x="390" y="18"/>
                        </a:lnTo>
                        <a:lnTo>
                          <a:pt x="382" y="19"/>
                        </a:lnTo>
                        <a:lnTo>
                          <a:pt x="377" y="20"/>
                        </a:lnTo>
                        <a:lnTo>
                          <a:pt x="371" y="22"/>
                        </a:lnTo>
                        <a:lnTo>
                          <a:pt x="368" y="24"/>
                        </a:lnTo>
                        <a:lnTo>
                          <a:pt x="360" y="31"/>
                        </a:lnTo>
                        <a:lnTo>
                          <a:pt x="355" y="37"/>
                        </a:lnTo>
                        <a:lnTo>
                          <a:pt x="348" y="44"/>
                        </a:lnTo>
                        <a:lnTo>
                          <a:pt x="340" y="50"/>
                        </a:lnTo>
                        <a:lnTo>
                          <a:pt x="333" y="52"/>
                        </a:lnTo>
                        <a:lnTo>
                          <a:pt x="326" y="54"/>
                        </a:lnTo>
                        <a:lnTo>
                          <a:pt x="319" y="55"/>
                        </a:lnTo>
                        <a:lnTo>
                          <a:pt x="310" y="55"/>
                        </a:lnTo>
                        <a:lnTo>
                          <a:pt x="298" y="55"/>
                        </a:lnTo>
                        <a:lnTo>
                          <a:pt x="287" y="54"/>
                        </a:lnTo>
                        <a:lnTo>
                          <a:pt x="277" y="52"/>
                        </a:lnTo>
                        <a:lnTo>
                          <a:pt x="267" y="50"/>
                        </a:lnTo>
                        <a:lnTo>
                          <a:pt x="251" y="43"/>
                        </a:lnTo>
                        <a:lnTo>
                          <a:pt x="235" y="36"/>
                        </a:lnTo>
                        <a:lnTo>
                          <a:pt x="220" y="27"/>
                        </a:lnTo>
                        <a:lnTo>
                          <a:pt x="206" y="19"/>
                        </a:lnTo>
                        <a:lnTo>
                          <a:pt x="197" y="15"/>
                        </a:lnTo>
                        <a:lnTo>
                          <a:pt x="189" y="12"/>
                        </a:lnTo>
                        <a:lnTo>
                          <a:pt x="180" y="9"/>
                        </a:lnTo>
                        <a:lnTo>
                          <a:pt x="170" y="6"/>
                        </a:lnTo>
                        <a:lnTo>
                          <a:pt x="152" y="7"/>
                        </a:lnTo>
                        <a:lnTo>
                          <a:pt x="134" y="8"/>
                        </a:lnTo>
                        <a:lnTo>
                          <a:pt x="127" y="7"/>
                        </a:lnTo>
                        <a:lnTo>
                          <a:pt x="119" y="6"/>
                        </a:lnTo>
                        <a:lnTo>
                          <a:pt x="111" y="4"/>
                        </a:lnTo>
                        <a:lnTo>
                          <a:pt x="103" y="0"/>
                        </a:lnTo>
                        <a:lnTo>
                          <a:pt x="80" y="0"/>
                        </a:lnTo>
                        <a:lnTo>
                          <a:pt x="52" y="0"/>
                        </a:lnTo>
                        <a:lnTo>
                          <a:pt x="24" y="0"/>
                        </a:lnTo>
                        <a:lnTo>
                          <a:pt x="5" y="0"/>
                        </a:lnTo>
                        <a:lnTo>
                          <a:pt x="5" y="7"/>
                        </a:lnTo>
                        <a:lnTo>
                          <a:pt x="5" y="18"/>
                        </a:lnTo>
                        <a:lnTo>
                          <a:pt x="5" y="29"/>
                        </a:lnTo>
                        <a:lnTo>
                          <a:pt x="5" y="37"/>
                        </a:lnTo>
                        <a:lnTo>
                          <a:pt x="9" y="47"/>
                        </a:lnTo>
                        <a:lnTo>
                          <a:pt x="15" y="60"/>
                        </a:lnTo>
                        <a:lnTo>
                          <a:pt x="19" y="74"/>
                        </a:lnTo>
                        <a:lnTo>
                          <a:pt x="23" y="91"/>
                        </a:lnTo>
                        <a:lnTo>
                          <a:pt x="28" y="109"/>
                        </a:lnTo>
                        <a:lnTo>
                          <a:pt x="31" y="128"/>
                        </a:lnTo>
                        <a:lnTo>
                          <a:pt x="34" y="150"/>
                        </a:lnTo>
                        <a:lnTo>
                          <a:pt x="38" y="172"/>
                        </a:lnTo>
                        <a:lnTo>
                          <a:pt x="38" y="190"/>
                        </a:lnTo>
                        <a:lnTo>
                          <a:pt x="37" y="206"/>
                        </a:lnTo>
                        <a:lnTo>
                          <a:pt x="33" y="219"/>
                        </a:lnTo>
                        <a:lnTo>
                          <a:pt x="29" y="230"/>
                        </a:lnTo>
                        <a:lnTo>
                          <a:pt x="18" y="249"/>
                        </a:lnTo>
                        <a:lnTo>
                          <a:pt x="7" y="269"/>
                        </a:lnTo>
                        <a:lnTo>
                          <a:pt x="17" y="284"/>
                        </a:lnTo>
                        <a:lnTo>
                          <a:pt x="10" y="321"/>
                        </a:lnTo>
                        <a:lnTo>
                          <a:pt x="0" y="328"/>
                        </a:lnTo>
                        <a:lnTo>
                          <a:pt x="28" y="339"/>
                        </a:lnTo>
                        <a:lnTo>
                          <a:pt x="55" y="352"/>
                        </a:lnTo>
                        <a:lnTo>
                          <a:pt x="84" y="367"/>
                        </a:lnTo>
                        <a:lnTo>
                          <a:pt x="111" y="381"/>
                        </a:lnTo>
                        <a:lnTo>
                          <a:pt x="136" y="396"/>
                        </a:lnTo>
                        <a:lnTo>
                          <a:pt x="159" y="411"/>
                        </a:lnTo>
                        <a:lnTo>
                          <a:pt x="170" y="420"/>
                        </a:lnTo>
                        <a:lnTo>
                          <a:pt x="180" y="428"/>
                        </a:lnTo>
                        <a:lnTo>
                          <a:pt x="189" y="436"/>
                        </a:lnTo>
                        <a:lnTo>
                          <a:pt x="197" y="444"/>
                        </a:lnTo>
                        <a:lnTo>
                          <a:pt x="198" y="451"/>
                        </a:lnTo>
                        <a:lnTo>
                          <a:pt x="199" y="457"/>
                        </a:lnTo>
                        <a:lnTo>
                          <a:pt x="201" y="464"/>
                        </a:lnTo>
                        <a:lnTo>
                          <a:pt x="205" y="471"/>
                        </a:lnTo>
                        <a:lnTo>
                          <a:pt x="209" y="479"/>
                        </a:lnTo>
                        <a:lnTo>
                          <a:pt x="214" y="486"/>
                        </a:lnTo>
                        <a:lnTo>
                          <a:pt x="220" y="492"/>
                        </a:lnTo>
                        <a:lnTo>
                          <a:pt x="226" y="498"/>
                        </a:lnTo>
                        <a:lnTo>
                          <a:pt x="233" y="503"/>
                        </a:lnTo>
                        <a:lnTo>
                          <a:pt x="240" y="508"/>
                        </a:lnTo>
                        <a:lnTo>
                          <a:pt x="247" y="512"/>
                        </a:lnTo>
                        <a:lnTo>
                          <a:pt x="256" y="516"/>
                        </a:lnTo>
                        <a:lnTo>
                          <a:pt x="264" y="519"/>
                        </a:lnTo>
                        <a:lnTo>
                          <a:pt x="273" y="521"/>
                        </a:lnTo>
                        <a:lnTo>
                          <a:pt x="281" y="523"/>
                        </a:lnTo>
                        <a:lnTo>
                          <a:pt x="290" y="523"/>
                        </a:lnTo>
                        <a:lnTo>
                          <a:pt x="304" y="502"/>
                        </a:lnTo>
                        <a:lnTo>
                          <a:pt x="320" y="482"/>
                        </a:lnTo>
                        <a:lnTo>
                          <a:pt x="335" y="462"/>
                        </a:lnTo>
                        <a:lnTo>
                          <a:pt x="349" y="444"/>
                        </a:lnTo>
                        <a:lnTo>
                          <a:pt x="365" y="427"/>
                        </a:lnTo>
                        <a:lnTo>
                          <a:pt x="379" y="408"/>
                        </a:lnTo>
                        <a:lnTo>
                          <a:pt x="394" y="390"/>
                        </a:lnTo>
                        <a:lnTo>
                          <a:pt x="410" y="370"/>
                        </a:lnTo>
                      </a:path>
                    </a:pathLst>
                  </a:custGeom>
                  <a:solidFill>
                    <a:srgbClr val="0671BA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15" name="Freeform 471">
                    <a:hlinkClick r:id="rId58" action="ppaction://hlinkpres?slideindex=1&amp;slidetitle=Slide 1" tooltip="Lesotho"/>
                  </p:cNvPr>
                  <p:cNvSpPr>
                    <a:spLocks/>
                  </p:cNvSpPr>
                  <p:nvPr>
                    <p:custDataLst>
                      <p:tags r:id="rId46"/>
                    </p:custDataLst>
                  </p:nvPr>
                </p:nvSpPr>
                <p:spPr bwMode="auto">
                  <a:xfrm>
                    <a:off x="5614914" y="5719006"/>
                    <a:ext cx="196628" cy="135015"/>
                  </a:xfrm>
                  <a:custGeom>
                    <a:avLst/>
                    <a:gdLst>
                      <a:gd name="T0" fmla="*/ 2147483647 w 135"/>
                      <a:gd name="T1" fmla="*/ 2147483647 h 98"/>
                      <a:gd name="T2" fmla="*/ 2147483647 w 135"/>
                      <a:gd name="T3" fmla="*/ 2147483647 h 98"/>
                      <a:gd name="T4" fmla="*/ 2147483647 w 135"/>
                      <a:gd name="T5" fmla="*/ 2147483647 h 98"/>
                      <a:gd name="T6" fmla="*/ 2147483647 w 135"/>
                      <a:gd name="T7" fmla="*/ 2147483647 h 98"/>
                      <a:gd name="T8" fmla="*/ 2147483647 w 135"/>
                      <a:gd name="T9" fmla="*/ 2147483647 h 98"/>
                      <a:gd name="T10" fmla="*/ 2147483647 w 135"/>
                      <a:gd name="T11" fmla="*/ 2147483647 h 98"/>
                      <a:gd name="T12" fmla="*/ 2147483647 w 135"/>
                      <a:gd name="T13" fmla="*/ 2147483647 h 98"/>
                      <a:gd name="T14" fmla="*/ 2147483647 w 135"/>
                      <a:gd name="T15" fmla="*/ 2147483647 h 98"/>
                      <a:gd name="T16" fmla="*/ 2147483647 w 135"/>
                      <a:gd name="T17" fmla="*/ 2147483647 h 98"/>
                      <a:gd name="T18" fmla="*/ 2147483647 w 135"/>
                      <a:gd name="T19" fmla="*/ 2147483647 h 98"/>
                      <a:gd name="T20" fmla="*/ 2147483647 w 135"/>
                      <a:gd name="T21" fmla="*/ 2147483647 h 98"/>
                      <a:gd name="T22" fmla="*/ 2147483647 w 135"/>
                      <a:gd name="T23" fmla="*/ 0 h 98"/>
                      <a:gd name="T24" fmla="*/ 2147483647 w 135"/>
                      <a:gd name="T25" fmla="*/ 0 h 98"/>
                      <a:gd name="T26" fmla="*/ 2147483647 w 135"/>
                      <a:gd name="T27" fmla="*/ 0 h 98"/>
                      <a:gd name="T28" fmla="*/ 2147483647 w 135"/>
                      <a:gd name="T29" fmla="*/ 2147483647 h 98"/>
                      <a:gd name="T30" fmla="*/ 2147483647 w 135"/>
                      <a:gd name="T31" fmla="*/ 2147483647 h 98"/>
                      <a:gd name="T32" fmla="*/ 2147483647 w 135"/>
                      <a:gd name="T33" fmla="*/ 2147483647 h 98"/>
                      <a:gd name="T34" fmla="*/ 2147483647 w 135"/>
                      <a:gd name="T35" fmla="*/ 2147483647 h 98"/>
                      <a:gd name="T36" fmla="*/ 2147483647 w 135"/>
                      <a:gd name="T37" fmla="*/ 2147483647 h 98"/>
                      <a:gd name="T38" fmla="*/ 2147483647 w 135"/>
                      <a:gd name="T39" fmla="*/ 2147483647 h 98"/>
                      <a:gd name="T40" fmla="*/ 2147483647 w 135"/>
                      <a:gd name="T41" fmla="*/ 2147483647 h 98"/>
                      <a:gd name="T42" fmla="*/ 2147483647 w 135"/>
                      <a:gd name="T43" fmla="*/ 2147483647 h 98"/>
                      <a:gd name="T44" fmla="*/ 2147483647 w 135"/>
                      <a:gd name="T45" fmla="*/ 2147483647 h 98"/>
                      <a:gd name="T46" fmla="*/ 2147483647 w 135"/>
                      <a:gd name="T47" fmla="*/ 2147483647 h 98"/>
                      <a:gd name="T48" fmla="*/ 2147483647 w 135"/>
                      <a:gd name="T49" fmla="*/ 2147483647 h 98"/>
                      <a:gd name="T50" fmla="*/ 2147483647 w 135"/>
                      <a:gd name="T51" fmla="*/ 2147483647 h 98"/>
                      <a:gd name="T52" fmla="*/ 2147483647 w 135"/>
                      <a:gd name="T53" fmla="*/ 2147483647 h 98"/>
                      <a:gd name="T54" fmla="*/ 2147483647 w 135"/>
                      <a:gd name="T55" fmla="*/ 2147483647 h 98"/>
                      <a:gd name="T56" fmla="*/ 2147483647 w 135"/>
                      <a:gd name="T57" fmla="*/ 2147483647 h 98"/>
                      <a:gd name="T58" fmla="*/ 2147483647 w 135"/>
                      <a:gd name="T59" fmla="*/ 2147483647 h 98"/>
                      <a:gd name="T60" fmla="*/ 2147483647 w 135"/>
                      <a:gd name="T61" fmla="*/ 2147483647 h 98"/>
                      <a:gd name="T62" fmla="*/ 2147483647 w 135"/>
                      <a:gd name="T63" fmla="*/ 2147483647 h 98"/>
                      <a:gd name="T64" fmla="*/ 2147483647 w 135"/>
                      <a:gd name="T65" fmla="*/ 2147483647 h 98"/>
                      <a:gd name="T66" fmla="*/ 2147483647 w 135"/>
                      <a:gd name="T67" fmla="*/ 2147483647 h 98"/>
                      <a:gd name="T68" fmla="*/ 2147483647 w 135"/>
                      <a:gd name="T69" fmla="*/ 2147483647 h 98"/>
                      <a:gd name="T70" fmla="*/ 2147483647 w 135"/>
                      <a:gd name="T71" fmla="*/ 2147483647 h 98"/>
                      <a:gd name="T72" fmla="*/ 2147483647 w 135"/>
                      <a:gd name="T73" fmla="*/ 2147483647 h 98"/>
                      <a:gd name="T74" fmla="*/ 2147483647 w 135"/>
                      <a:gd name="T75" fmla="*/ 2147483647 h 98"/>
                      <a:gd name="T76" fmla="*/ 0 w 135"/>
                      <a:gd name="T77" fmla="*/ 2147483647 h 98"/>
                      <a:gd name="T78" fmla="*/ 0 w 135"/>
                      <a:gd name="T79" fmla="*/ 2147483647 h 98"/>
                      <a:gd name="T80" fmla="*/ 2147483647 w 135"/>
                      <a:gd name="T81" fmla="*/ 2147483647 h 98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135"/>
                      <a:gd name="T124" fmla="*/ 0 h 98"/>
                      <a:gd name="T125" fmla="*/ 135 w 135"/>
                      <a:gd name="T126" fmla="*/ 98 h 98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135" h="98">
                        <a:moveTo>
                          <a:pt x="3" y="55"/>
                        </a:moveTo>
                        <a:lnTo>
                          <a:pt x="11" y="54"/>
                        </a:lnTo>
                        <a:lnTo>
                          <a:pt x="18" y="53"/>
                        </a:lnTo>
                        <a:lnTo>
                          <a:pt x="24" y="50"/>
                        </a:lnTo>
                        <a:lnTo>
                          <a:pt x="31" y="47"/>
                        </a:lnTo>
                        <a:lnTo>
                          <a:pt x="42" y="38"/>
                        </a:lnTo>
                        <a:lnTo>
                          <a:pt x="52" y="28"/>
                        </a:lnTo>
                        <a:lnTo>
                          <a:pt x="61" y="18"/>
                        </a:lnTo>
                        <a:lnTo>
                          <a:pt x="71" y="8"/>
                        </a:lnTo>
                        <a:lnTo>
                          <a:pt x="76" y="5"/>
                        </a:lnTo>
                        <a:lnTo>
                          <a:pt x="82" y="2"/>
                        </a:lnTo>
                        <a:lnTo>
                          <a:pt x="88" y="0"/>
                        </a:lnTo>
                        <a:lnTo>
                          <a:pt x="96" y="0"/>
                        </a:lnTo>
                        <a:lnTo>
                          <a:pt x="102" y="0"/>
                        </a:lnTo>
                        <a:lnTo>
                          <a:pt x="110" y="3"/>
                        </a:lnTo>
                        <a:lnTo>
                          <a:pt x="117" y="6"/>
                        </a:lnTo>
                        <a:lnTo>
                          <a:pt x="123" y="11"/>
                        </a:lnTo>
                        <a:lnTo>
                          <a:pt x="128" y="16"/>
                        </a:lnTo>
                        <a:lnTo>
                          <a:pt x="132" y="24"/>
                        </a:lnTo>
                        <a:lnTo>
                          <a:pt x="134" y="30"/>
                        </a:lnTo>
                        <a:lnTo>
                          <a:pt x="135" y="37"/>
                        </a:lnTo>
                        <a:lnTo>
                          <a:pt x="134" y="40"/>
                        </a:lnTo>
                        <a:lnTo>
                          <a:pt x="132" y="43"/>
                        </a:lnTo>
                        <a:lnTo>
                          <a:pt x="129" y="47"/>
                        </a:lnTo>
                        <a:lnTo>
                          <a:pt x="124" y="51"/>
                        </a:lnTo>
                        <a:lnTo>
                          <a:pt x="113" y="61"/>
                        </a:lnTo>
                        <a:lnTo>
                          <a:pt x="100" y="72"/>
                        </a:lnTo>
                        <a:lnTo>
                          <a:pt x="87" y="82"/>
                        </a:lnTo>
                        <a:lnTo>
                          <a:pt x="74" y="91"/>
                        </a:lnTo>
                        <a:lnTo>
                          <a:pt x="63" y="96"/>
                        </a:lnTo>
                        <a:lnTo>
                          <a:pt x="55" y="98"/>
                        </a:lnTo>
                        <a:lnTo>
                          <a:pt x="51" y="97"/>
                        </a:lnTo>
                        <a:lnTo>
                          <a:pt x="43" y="92"/>
                        </a:lnTo>
                        <a:lnTo>
                          <a:pt x="32" y="85"/>
                        </a:lnTo>
                        <a:lnTo>
                          <a:pt x="21" y="77"/>
                        </a:lnTo>
                        <a:lnTo>
                          <a:pt x="11" y="68"/>
                        </a:lnTo>
                        <a:lnTo>
                          <a:pt x="5" y="62"/>
                        </a:lnTo>
                        <a:lnTo>
                          <a:pt x="1" y="59"/>
                        </a:lnTo>
                        <a:lnTo>
                          <a:pt x="0" y="57"/>
                        </a:lnTo>
                        <a:lnTo>
                          <a:pt x="0" y="56"/>
                        </a:lnTo>
                        <a:lnTo>
                          <a:pt x="3" y="55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16" name="Freeform 474">
                    <a:hlinkClick r:id="rId57" action="ppaction://hlinkpres?slideindex=1&amp;slidetitle=" tooltip="Malawi"/>
                  </p:cNvPr>
                  <p:cNvSpPr>
                    <a:spLocks/>
                  </p:cNvSpPr>
                  <p:nvPr>
                    <p:custDataLst>
                      <p:tags r:id="rId47"/>
                    </p:custDataLst>
                  </p:nvPr>
                </p:nvSpPr>
                <p:spPr bwMode="auto">
                  <a:xfrm>
                    <a:off x="6169511" y="4267593"/>
                    <a:ext cx="221839" cy="570064"/>
                  </a:xfrm>
                  <a:custGeom>
                    <a:avLst/>
                    <a:gdLst>
                      <a:gd name="T0" fmla="*/ 2147483647 w 166"/>
                      <a:gd name="T1" fmla="*/ 2147483647 h 456"/>
                      <a:gd name="T2" fmla="*/ 2147483647 w 166"/>
                      <a:gd name="T3" fmla="*/ 2147483647 h 456"/>
                      <a:gd name="T4" fmla="*/ 2147483647 w 166"/>
                      <a:gd name="T5" fmla="*/ 2147483647 h 456"/>
                      <a:gd name="T6" fmla="*/ 2147483647 w 166"/>
                      <a:gd name="T7" fmla="*/ 2147483647 h 456"/>
                      <a:gd name="T8" fmla="*/ 2147483647 w 166"/>
                      <a:gd name="T9" fmla="*/ 2147483647 h 456"/>
                      <a:gd name="T10" fmla="*/ 2147483647 w 166"/>
                      <a:gd name="T11" fmla="*/ 2147483647 h 456"/>
                      <a:gd name="T12" fmla="*/ 2147483647 w 166"/>
                      <a:gd name="T13" fmla="*/ 2147483647 h 456"/>
                      <a:gd name="T14" fmla="*/ 2147483647 w 166"/>
                      <a:gd name="T15" fmla="*/ 2147483647 h 456"/>
                      <a:gd name="T16" fmla="*/ 2147483647 w 166"/>
                      <a:gd name="T17" fmla="*/ 2147483647 h 456"/>
                      <a:gd name="T18" fmla="*/ 2147483647 w 166"/>
                      <a:gd name="T19" fmla="*/ 2147483647 h 456"/>
                      <a:gd name="T20" fmla="*/ 2147483647 w 166"/>
                      <a:gd name="T21" fmla="*/ 2147483647 h 456"/>
                      <a:gd name="T22" fmla="*/ 2147483647 w 166"/>
                      <a:gd name="T23" fmla="*/ 2147483647 h 456"/>
                      <a:gd name="T24" fmla="*/ 2147483647 w 166"/>
                      <a:gd name="T25" fmla="*/ 2147483647 h 456"/>
                      <a:gd name="T26" fmla="*/ 2147483647 w 166"/>
                      <a:gd name="T27" fmla="*/ 2147483647 h 456"/>
                      <a:gd name="T28" fmla="*/ 2147483647 w 166"/>
                      <a:gd name="T29" fmla="*/ 2147483647 h 456"/>
                      <a:gd name="T30" fmla="*/ 2147483647 w 166"/>
                      <a:gd name="T31" fmla="*/ 2147483647 h 456"/>
                      <a:gd name="T32" fmla="*/ 2147483647 w 166"/>
                      <a:gd name="T33" fmla="*/ 2147483647 h 456"/>
                      <a:gd name="T34" fmla="*/ 2147483647 w 166"/>
                      <a:gd name="T35" fmla="*/ 2147483647 h 456"/>
                      <a:gd name="T36" fmla="*/ 2147483647 w 166"/>
                      <a:gd name="T37" fmla="*/ 2147483647 h 456"/>
                      <a:gd name="T38" fmla="*/ 2147483647 w 166"/>
                      <a:gd name="T39" fmla="*/ 2147483647 h 456"/>
                      <a:gd name="T40" fmla="*/ 2147483647 w 166"/>
                      <a:gd name="T41" fmla="*/ 2147483647 h 456"/>
                      <a:gd name="T42" fmla="*/ 2147483647 w 166"/>
                      <a:gd name="T43" fmla="*/ 2147483647 h 456"/>
                      <a:gd name="T44" fmla="*/ 2147483647 w 166"/>
                      <a:gd name="T45" fmla="*/ 2147483647 h 456"/>
                      <a:gd name="T46" fmla="*/ 2147483647 w 166"/>
                      <a:gd name="T47" fmla="*/ 2147483647 h 456"/>
                      <a:gd name="T48" fmla="*/ 2147483647 w 166"/>
                      <a:gd name="T49" fmla="*/ 2147483647 h 456"/>
                      <a:gd name="T50" fmla="*/ 2147483647 w 166"/>
                      <a:gd name="T51" fmla="*/ 2147483647 h 456"/>
                      <a:gd name="T52" fmla="*/ 2147483647 w 166"/>
                      <a:gd name="T53" fmla="*/ 2147483647 h 456"/>
                      <a:gd name="T54" fmla="*/ 2147483647 w 166"/>
                      <a:gd name="T55" fmla="*/ 2147483647 h 456"/>
                      <a:gd name="T56" fmla="*/ 2147483647 w 166"/>
                      <a:gd name="T57" fmla="*/ 2147483647 h 456"/>
                      <a:gd name="T58" fmla="*/ 2147483647 w 166"/>
                      <a:gd name="T59" fmla="*/ 2147483647 h 456"/>
                      <a:gd name="T60" fmla="*/ 2147483647 w 166"/>
                      <a:gd name="T61" fmla="*/ 2147483647 h 456"/>
                      <a:gd name="T62" fmla="*/ 2147483647 w 166"/>
                      <a:gd name="T63" fmla="*/ 2147483647 h 456"/>
                      <a:gd name="T64" fmla="*/ 2147483647 w 166"/>
                      <a:gd name="T65" fmla="*/ 2147483647 h 456"/>
                      <a:gd name="T66" fmla="*/ 2147483647 w 166"/>
                      <a:gd name="T67" fmla="*/ 2147483647 h 456"/>
                      <a:gd name="T68" fmla="*/ 2147483647 w 166"/>
                      <a:gd name="T69" fmla="*/ 2147483647 h 456"/>
                      <a:gd name="T70" fmla="*/ 2147483647 w 166"/>
                      <a:gd name="T71" fmla="*/ 2147483647 h 456"/>
                      <a:gd name="T72" fmla="*/ 2147483647 w 166"/>
                      <a:gd name="T73" fmla="*/ 2147483647 h 456"/>
                      <a:gd name="T74" fmla="*/ 2147483647 w 166"/>
                      <a:gd name="T75" fmla="*/ 2147483647 h 456"/>
                      <a:gd name="T76" fmla="*/ 2147483647 w 166"/>
                      <a:gd name="T77" fmla="*/ 2147483647 h 456"/>
                      <a:gd name="T78" fmla="*/ 2147483647 w 166"/>
                      <a:gd name="T79" fmla="*/ 2147483647 h 456"/>
                      <a:gd name="T80" fmla="*/ 2147483647 w 166"/>
                      <a:gd name="T81" fmla="*/ 2147483647 h 456"/>
                      <a:gd name="T82" fmla="*/ 2147483647 w 166"/>
                      <a:gd name="T83" fmla="*/ 2147483647 h 456"/>
                      <a:gd name="T84" fmla="*/ 2147483647 w 166"/>
                      <a:gd name="T85" fmla="*/ 2147483647 h 456"/>
                      <a:gd name="T86" fmla="*/ 2147483647 w 166"/>
                      <a:gd name="T87" fmla="*/ 2147483647 h 456"/>
                      <a:gd name="T88" fmla="*/ 2147483647 w 166"/>
                      <a:gd name="T89" fmla="*/ 2147483647 h 456"/>
                      <a:gd name="T90" fmla="*/ 2147483647 w 166"/>
                      <a:gd name="T91" fmla="*/ 2147483647 h 456"/>
                      <a:gd name="T92" fmla="*/ 2147483647 w 166"/>
                      <a:gd name="T93" fmla="*/ 2147483647 h 456"/>
                      <a:gd name="T94" fmla="*/ 2147483647 w 166"/>
                      <a:gd name="T95" fmla="*/ 2147483647 h 456"/>
                      <a:gd name="T96" fmla="*/ 2147483647 w 166"/>
                      <a:gd name="T97" fmla="*/ 2147483647 h 456"/>
                      <a:gd name="T98" fmla="*/ 2147483647 w 166"/>
                      <a:gd name="T99" fmla="*/ 2147483647 h 456"/>
                      <a:gd name="T100" fmla="*/ 2147483647 w 166"/>
                      <a:gd name="T101" fmla="*/ 2147483647 h 45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166"/>
                      <a:gd name="T154" fmla="*/ 0 h 456"/>
                      <a:gd name="T155" fmla="*/ 166 w 166"/>
                      <a:gd name="T156" fmla="*/ 456 h 456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166" h="456">
                        <a:moveTo>
                          <a:pt x="7" y="277"/>
                        </a:moveTo>
                        <a:lnTo>
                          <a:pt x="10" y="282"/>
                        </a:lnTo>
                        <a:lnTo>
                          <a:pt x="14" y="287"/>
                        </a:lnTo>
                        <a:lnTo>
                          <a:pt x="19" y="290"/>
                        </a:lnTo>
                        <a:lnTo>
                          <a:pt x="25" y="294"/>
                        </a:lnTo>
                        <a:lnTo>
                          <a:pt x="37" y="300"/>
                        </a:lnTo>
                        <a:lnTo>
                          <a:pt x="52" y="304"/>
                        </a:lnTo>
                        <a:lnTo>
                          <a:pt x="58" y="306"/>
                        </a:lnTo>
                        <a:lnTo>
                          <a:pt x="65" y="309"/>
                        </a:lnTo>
                        <a:lnTo>
                          <a:pt x="70" y="312"/>
                        </a:lnTo>
                        <a:lnTo>
                          <a:pt x="76" y="316"/>
                        </a:lnTo>
                        <a:lnTo>
                          <a:pt x="80" y="320"/>
                        </a:lnTo>
                        <a:lnTo>
                          <a:pt x="84" y="325"/>
                        </a:lnTo>
                        <a:lnTo>
                          <a:pt x="86" y="331"/>
                        </a:lnTo>
                        <a:lnTo>
                          <a:pt x="87" y="339"/>
                        </a:lnTo>
                        <a:lnTo>
                          <a:pt x="86" y="347"/>
                        </a:lnTo>
                        <a:lnTo>
                          <a:pt x="82" y="356"/>
                        </a:lnTo>
                        <a:lnTo>
                          <a:pt x="78" y="363"/>
                        </a:lnTo>
                        <a:lnTo>
                          <a:pt x="74" y="369"/>
                        </a:lnTo>
                        <a:lnTo>
                          <a:pt x="68" y="375"/>
                        </a:lnTo>
                        <a:lnTo>
                          <a:pt x="64" y="381"/>
                        </a:lnTo>
                        <a:lnTo>
                          <a:pt x="62" y="388"/>
                        </a:lnTo>
                        <a:lnTo>
                          <a:pt x="60" y="394"/>
                        </a:lnTo>
                        <a:lnTo>
                          <a:pt x="60" y="400"/>
                        </a:lnTo>
                        <a:lnTo>
                          <a:pt x="62" y="405"/>
                        </a:lnTo>
                        <a:lnTo>
                          <a:pt x="64" y="411"/>
                        </a:lnTo>
                        <a:lnTo>
                          <a:pt x="67" y="416"/>
                        </a:lnTo>
                        <a:lnTo>
                          <a:pt x="76" y="424"/>
                        </a:lnTo>
                        <a:lnTo>
                          <a:pt x="85" y="432"/>
                        </a:lnTo>
                        <a:lnTo>
                          <a:pt x="104" y="445"/>
                        </a:lnTo>
                        <a:lnTo>
                          <a:pt x="120" y="456"/>
                        </a:lnTo>
                        <a:lnTo>
                          <a:pt x="120" y="443"/>
                        </a:lnTo>
                        <a:lnTo>
                          <a:pt x="120" y="432"/>
                        </a:lnTo>
                        <a:lnTo>
                          <a:pt x="120" y="423"/>
                        </a:lnTo>
                        <a:lnTo>
                          <a:pt x="120" y="413"/>
                        </a:lnTo>
                        <a:lnTo>
                          <a:pt x="131" y="413"/>
                        </a:lnTo>
                        <a:lnTo>
                          <a:pt x="141" y="410"/>
                        </a:lnTo>
                        <a:lnTo>
                          <a:pt x="145" y="407"/>
                        </a:lnTo>
                        <a:lnTo>
                          <a:pt x="149" y="405"/>
                        </a:lnTo>
                        <a:lnTo>
                          <a:pt x="153" y="402"/>
                        </a:lnTo>
                        <a:lnTo>
                          <a:pt x="155" y="399"/>
                        </a:lnTo>
                        <a:lnTo>
                          <a:pt x="160" y="393"/>
                        </a:lnTo>
                        <a:lnTo>
                          <a:pt x="164" y="384"/>
                        </a:lnTo>
                        <a:lnTo>
                          <a:pt x="166" y="375"/>
                        </a:lnTo>
                        <a:lnTo>
                          <a:pt x="166" y="364"/>
                        </a:lnTo>
                        <a:lnTo>
                          <a:pt x="165" y="350"/>
                        </a:lnTo>
                        <a:lnTo>
                          <a:pt x="163" y="339"/>
                        </a:lnTo>
                        <a:lnTo>
                          <a:pt x="158" y="328"/>
                        </a:lnTo>
                        <a:lnTo>
                          <a:pt x="153" y="318"/>
                        </a:lnTo>
                        <a:lnTo>
                          <a:pt x="148" y="307"/>
                        </a:lnTo>
                        <a:lnTo>
                          <a:pt x="144" y="296"/>
                        </a:lnTo>
                        <a:lnTo>
                          <a:pt x="141" y="284"/>
                        </a:lnTo>
                        <a:lnTo>
                          <a:pt x="140" y="271"/>
                        </a:lnTo>
                        <a:lnTo>
                          <a:pt x="135" y="269"/>
                        </a:lnTo>
                        <a:lnTo>
                          <a:pt x="127" y="261"/>
                        </a:lnTo>
                        <a:lnTo>
                          <a:pt x="118" y="251"/>
                        </a:lnTo>
                        <a:lnTo>
                          <a:pt x="108" y="238"/>
                        </a:lnTo>
                        <a:lnTo>
                          <a:pt x="97" y="224"/>
                        </a:lnTo>
                        <a:lnTo>
                          <a:pt x="88" y="211"/>
                        </a:lnTo>
                        <a:lnTo>
                          <a:pt x="85" y="206"/>
                        </a:lnTo>
                        <a:lnTo>
                          <a:pt x="82" y="200"/>
                        </a:lnTo>
                        <a:lnTo>
                          <a:pt x="80" y="195"/>
                        </a:lnTo>
                        <a:lnTo>
                          <a:pt x="80" y="192"/>
                        </a:lnTo>
                        <a:lnTo>
                          <a:pt x="81" y="177"/>
                        </a:lnTo>
                        <a:lnTo>
                          <a:pt x="85" y="157"/>
                        </a:lnTo>
                        <a:lnTo>
                          <a:pt x="88" y="147"/>
                        </a:lnTo>
                        <a:lnTo>
                          <a:pt x="91" y="138"/>
                        </a:lnTo>
                        <a:lnTo>
                          <a:pt x="96" y="129"/>
                        </a:lnTo>
                        <a:lnTo>
                          <a:pt x="100" y="123"/>
                        </a:lnTo>
                        <a:lnTo>
                          <a:pt x="98" y="113"/>
                        </a:lnTo>
                        <a:lnTo>
                          <a:pt x="96" y="99"/>
                        </a:lnTo>
                        <a:lnTo>
                          <a:pt x="95" y="82"/>
                        </a:lnTo>
                        <a:lnTo>
                          <a:pt x="93" y="63"/>
                        </a:lnTo>
                        <a:lnTo>
                          <a:pt x="92" y="45"/>
                        </a:lnTo>
                        <a:lnTo>
                          <a:pt x="90" y="30"/>
                        </a:lnTo>
                        <a:lnTo>
                          <a:pt x="89" y="18"/>
                        </a:lnTo>
                        <a:lnTo>
                          <a:pt x="87" y="12"/>
                        </a:lnTo>
                        <a:lnTo>
                          <a:pt x="71" y="8"/>
                        </a:lnTo>
                        <a:lnTo>
                          <a:pt x="54" y="6"/>
                        </a:lnTo>
                        <a:lnTo>
                          <a:pt x="33" y="4"/>
                        </a:lnTo>
                        <a:lnTo>
                          <a:pt x="7" y="0"/>
                        </a:lnTo>
                        <a:lnTo>
                          <a:pt x="12" y="10"/>
                        </a:lnTo>
                        <a:lnTo>
                          <a:pt x="19" y="21"/>
                        </a:lnTo>
                        <a:lnTo>
                          <a:pt x="22" y="25"/>
                        </a:lnTo>
                        <a:lnTo>
                          <a:pt x="28" y="28"/>
                        </a:lnTo>
                        <a:lnTo>
                          <a:pt x="33" y="30"/>
                        </a:lnTo>
                        <a:lnTo>
                          <a:pt x="40" y="31"/>
                        </a:lnTo>
                        <a:lnTo>
                          <a:pt x="40" y="44"/>
                        </a:lnTo>
                        <a:lnTo>
                          <a:pt x="40" y="55"/>
                        </a:lnTo>
                        <a:lnTo>
                          <a:pt x="40" y="64"/>
                        </a:lnTo>
                        <a:lnTo>
                          <a:pt x="40" y="74"/>
                        </a:lnTo>
                        <a:lnTo>
                          <a:pt x="40" y="78"/>
                        </a:lnTo>
                        <a:lnTo>
                          <a:pt x="39" y="81"/>
                        </a:lnTo>
                        <a:lnTo>
                          <a:pt x="36" y="85"/>
                        </a:lnTo>
                        <a:lnTo>
                          <a:pt x="35" y="88"/>
                        </a:lnTo>
                        <a:lnTo>
                          <a:pt x="29" y="95"/>
                        </a:lnTo>
                        <a:lnTo>
                          <a:pt x="22" y="102"/>
                        </a:lnTo>
                        <a:lnTo>
                          <a:pt x="15" y="109"/>
                        </a:lnTo>
                        <a:lnTo>
                          <a:pt x="9" y="115"/>
                        </a:lnTo>
                        <a:lnTo>
                          <a:pt x="3" y="122"/>
                        </a:lnTo>
                        <a:lnTo>
                          <a:pt x="0" y="129"/>
                        </a:lnTo>
                        <a:lnTo>
                          <a:pt x="7" y="277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17" name="Freeform 476">
                    <a:hlinkClick r:id="rId57" action="ppaction://hlinkpres?slideindex=1&amp;slidetitle=" tooltip="Zimbabwe"/>
                  </p:cNvPr>
                  <p:cNvSpPr>
                    <a:spLocks/>
                  </p:cNvSpPr>
                  <p:nvPr>
                    <p:custDataLst>
                      <p:tags r:id="rId48"/>
                    </p:custDataLst>
                  </p:nvPr>
                </p:nvSpPr>
                <p:spPr bwMode="auto">
                  <a:xfrm>
                    <a:off x="5569536" y="4721395"/>
                    <a:ext cx="599975" cy="513806"/>
                  </a:xfrm>
                  <a:custGeom>
                    <a:avLst/>
                    <a:gdLst>
                      <a:gd name="T0" fmla="*/ 2147483647 w 438"/>
                      <a:gd name="T1" fmla="*/ 2147483647 h 406"/>
                      <a:gd name="T2" fmla="*/ 2147483647 w 438"/>
                      <a:gd name="T3" fmla="*/ 2147483647 h 406"/>
                      <a:gd name="T4" fmla="*/ 2147483647 w 438"/>
                      <a:gd name="T5" fmla="*/ 2147483647 h 406"/>
                      <a:gd name="T6" fmla="*/ 2147483647 w 438"/>
                      <a:gd name="T7" fmla="*/ 2147483647 h 406"/>
                      <a:gd name="T8" fmla="*/ 2147483647 w 438"/>
                      <a:gd name="T9" fmla="*/ 2147483647 h 406"/>
                      <a:gd name="T10" fmla="*/ 2147483647 w 438"/>
                      <a:gd name="T11" fmla="*/ 2147483647 h 406"/>
                      <a:gd name="T12" fmla="*/ 2147483647 w 438"/>
                      <a:gd name="T13" fmla="*/ 2147483647 h 406"/>
                      <a:gd name="T14" fmla="*/ 2147483647 w 438"/>
                      <a:gd name="T15" fmla="*/ 2147483647 h 406"/>
                      <a:gd name="T16" fmla="*/ 2147483647 w 438"/>
                      <a:gd name="T17" fmla="*/ 2147483647 h 406"/>
                      <a:gd name="T18" fmla="*/ 2147483647 w 438"/>
                      <a:gd name="T19" fmla="*/ 2147483647 h 406"/>
                      <a:gd name="T20" fmla="*/ 2147483647 w 438"/>
                      <a:gd name="T21" fmla="*/ 2147483647 h 406"/>
                      <a:gd name="T22" fmla="*/ 2147483647 w 438"/>
                      <a:gd name="T23" fmla="*/ 2147483647 h 406"/>
                      <a:gd name="T24" fmla="*/ 2147483647 w 438"/>
                      <a:gd name="T25" fmla="*/ 2147483647 h 406"/>
                      <a:gd name="T26" fmla="*/ 2147483647 w 438"/>
                      <a:gd name="T27" fmla="*/ 2147483647 h 406"/>
                      <a:gd name="T28" fmla="*/ 2147483647 w 438"/>
                      <a:gd name="T29" fmla="*/ 2147483647 h 406"/>
                      <a:gd name="T30" fmla="*/ 2147483647 w 438"/>
                      <a:gd name="T31" fmla="*/ 2147483647 h 406"/>
                      <a:gd name="T32" fmla="*/ 2147483647 w 438"/>
                      <a:gd name="T33" fmla="*/ 2147483647 h 406"/>
                      <a:gd name="T34" fmla="*/ 2147483647 w 438"/>
                      <a:gd name="T35" fmla="*/ 2147483647 h 406"/>
                      <a:gd name="T36" fmla="*/ 2147483647 w 438"/>
                      <a:gd name="T37" fmla="*/ 2147483647 h 406"/>
                      <a:gd name="T38" fmla="*/ 2147483647 w 438"/>
                      <a:gd name="T39" fmla="*/ 2147483647 h 406"/>
                      <a:gd name="T40" fmla="*/ 2147483647 w 438"/>
                      <a:gd name="T41" fmla="*/ 2147483647 h 406"/>
                      <a:gd name="T42" fmla="*/ 2147483647 w 438"/>
                      <a:gd name="T43" fmla="*/ 2147483647 h 406"/>
                      <a:gd name="T44" fmla="*/ 2147483647 w 438"/>
                      <a:gd name="T45" fmla="*/ 2147483647 h 406"/>
                      <a:gd name="T46" fmla="*/ 2147483647 w 438"/>
                      <a:gd name="T47" fmla="*/ 2147483647 h 406"/>
                      <a:gd name="T48" fmla="*/ 2147483647 w 438"/>
                      <a:gd name="T49" fmla="*/ 2147483647 h 406"/>
                      <a:gd name="T50" fmla="*/ 2147483647 w 438"/>
                      <a:gd name="T51" fmla="*/ 2147483647 h 406"/>
                      <a:gd name="T52" fmla="*/ 2147483647 w 438"/>
                      <a:gd name="T53" fmla="*/ 2147483647 h 406"/>
                      <a:gd name="T54" fmla="*/ 2147483647 w 438"/>
                      <a:gd name="T55" fmla="*/ 2147483647 h 406"/>
                      <a:gd name="T56" fmla="*/ 2147483647 w 438"/>
                      <a:gd name="T57" fmla="*/ 2147483647 h 406"/>
                      <a:gd name="T58" fmla="*/ 2147483647 w 438"/>
                      <a:gd name="T59" fmla="*/ 2147483647 h 406"/>
                      <a:gd name="T60" fmla="*/ 2147483647 w 438"/>
                      <a:gd name="T61" fmla="*/ 2147483647 h 406"/>
                      <a:gd name="T62" fmla="*/ 2147483647 w 438"/>
                      <a:gd name="T63" fmla="*/ 2147483647 h 406"/>
                      <a:gd name="T64" fmla="*/ 0 w 438"/>
                      <a:gd name="T65" fmla="*/ 2147483647 h 406"/>
                      <a:gd name="T66" fmla="*/ 2147483647 w 438"/>
                      <a:gd name="T67" fmla="*/ 2147483647 h 406"/>
                      <a:gd name="T68" fmla="*/ 2147483647 w 438"/>
                      <a:gd name="T69" fmla="*/ 2147483647 h 406"/>
                      <a:gd name="T70" fmla="*/ 2147483647 w 438"/>
                      <a:gd name="T71" fmla="*/ 2147483647 h 406"/>
                      <a:gd name="T72" fmla="*/ 2147483647 w 438"/>
                      <a:gd name="T73" fmla="*/ 2147483647 h 406"/>
                      <a:gd name="T74" fmla="*/ 2147483647 w 438"/>
                      <a:gd name="T75" fmla="*/ 2147483647 h 406"/>
                      <a:gd name="T76" fmla="*/ 2147483647 w 438"/>
                      <a:gd name="T77" fmla="*/ 2147483647 h 406"/>
                      <a:gd name="T78" fmla="*/ 2147483647 w 438"/>
                      <a:gd name="T79" fmla="*/ 2147483647 h 406"/>
                      <a:gd name="T80" fmla="*/ 2147483647 w 438"/>
                      <a:gd name="T81" fmla="*/ 2147483647 h 406"/>
                      <a:gd name="T82" fmla="*/ 2147483647 w 438"/>
                      <a:gd name="T83" fmla="*/ 2147483647 h 406"/>
                      <a:gd name="T84" fmla="*/ 2147483647 w 438"/>
                      <a:gd name="T85" fmla="*/ 2147483647 h 406"/>
                      <a:gd name="T86" fmla="*/ 2147483647 w 438"/>
                      <a:gd name="T87" fmla="*/ 2147483647 h 406"/>
                      <a:gd name="T88" fmla="*/ 2147483647 w 438"/>
                      <a:gd name="T89" fmla="*/ 2147483647 h 406"/>
                      <a:gd name="T90" fmla="*/ 2147483647 w 438"/>
                      <a:gd name="T91" fmla="*/ 2147483647 h 406"/>
                      <a:gd name="T92" fmla="*/ 2147483647 w 438"/>
                      <a:gd name="T93" fmla="*/ 2147483647 h 406"/>
                      <a:gd name="T94" fmla="*/ 2147483647 w 438"/>
                      <a:gd name="T95" fmla="*/ 2147483647 h 406"/>
                      <a:gd name="T96" fmla="*/ 2147483647 w 438"/>
                      <a:gd name="T97" fmla="*/ 2147483647 h 406"/>
                      <a:gd name="T98" fmla="*/ 2147483647 w 438"/>
                      <a:gd name="T99" fmla="*/ 2147483647 h 406"/>
                      <a:gd name="T100" fmla="*/ 2147483647 w 438"/>
                      <a:gd name="T101" fmla="*/ 2147483647 h 406"/>
                      <a:gd name="T102" fmla="*/ 2147483647 w 438"/>
                      <a:gd name="T103" fmla="*/ 2147483647 h 406"/>
                      <a:gd name="T104" fmla="*/ 2147483647 w 438"/>
                      <a:gd name="T105" fmla="*/ 2147483647 h 406"/>
                      <a:gd name="T106" fmla="*/ 2147483647 w 438"/>
                      <a:gd name="T107" fmla="*/ 2147483647 h 406"/>
                      <a:gd name="T108" fmla="*/ 2147483647 w 438"/>
                      <a:gd name="T109" fmla="*/ 2147483647 h 40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438"/>
                      <a:gd name="T166" fmla="*/ 0 h 406"/>
                      <a:gd name="T167" fmla="*/ 438 w 438"/>
                      <a:gd name="T168" fmla="*/ 406 h 406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438" h="406">
                        <a:moveTo>
                          <a:pt x="272" y="0"/>
                        </a:moveTo>
                        <a:lnTo>
                          <a:pt x="284" y="8"/>
                        </a:lnTo>
                        <a:lnTo>
                          <a:pt x="301" y="17"/>
                        </a:lnTo>
                        <a:lnTo>
                          <a:pt x="320" y="27"/>
                        </a:lnTo>
                        <a:lnTo>
                          <a:pt x="341" y="37"/>
                        </a:lnTo>
                        <a:lnTo>
                          <a:pt x="363" y="47"/>
                        </a:lnTo>
                        <a:lnTo>
                          <a:pt x="385" y="55"/>
                        </a:lnTo>
                        <a:lnTo>
                          <a:pt x="395" y="58"/>
                        </a:lnTo>
                        <a:lnTo>
                          <a:pt x="406" y="60"/>
                        </a:lnTo>
                        <a:lnTo>
                          <a:pt x="416" y="61"/>
                        </a:lnTo>
                        <a:lnTo>
                          <a:pt x="425" y="61"/>
                        </a:lnTo>
                        <a:lnTo>
                          <a:pt x="425" y="81"/>
                        </a:lnTo>
                        <a:lnTo>
                          <a:pt x="427" y="101"/>
                        </a:lnTo>
                        <a:lnTo>
                          <a:pt x="429" y="120"/>
                        </a:lnTo>
                        <a:lnTo>
                          <a:pt x="432" y="138"/>
                        </a:lnTo>
                        <a:lnTo>
                          <a:pt x="434" y="157"/>
                        </a:lnTo>
                        <a:lnTo>
                          <a:pt x="436" y="176"/>
                        </a:lnTo>
                        <a:lnTo>
                          <a:pt x="438" y="195"/>
                        </a:lnTo>
                        <a:lnTo>
                          <a:pt x="438" y="216"/>
                        </a:lnTo>
                        <a:lnTo>
                          <a:pt x="438" y="223"/>
                        </a:lnTo>
                        <a:lnTo>
                          <a:pt x="436" y="230"/>
                        </a:lnTo>
                        <a:lnTo>
                          <a:pt x="435" y="237"/>
                        </a:lnTo>
                        <a:lnTo>
                          <a:pt x="432" y="245"/>
                        </a:lnTo>
                        <a:lnTo>
                          <a:pt x="425" y="259"/>
                        </a:lnTo>
                        <a:lnTo>
                          <a:pt x="416" y="274"/>
                        </a:lnTo>
                        <a:lnTo>
                          <a:pt x="407" y="287"/>
                        </a:lnTo>
                        <a:lnTo>
                          <a:pt x="399" y="298"/>
                        </a:lnTo>
                        <a:lnTo>
                          <a:pt x="391" y="307"/>
                        </a:lnTo>
                        <a:lnTo>
                          <a:pt x="385" y="314"/>
                        </a:lnTo>
                        <a:lnTo>
                          <a:pt x="381" y="320"/>
                        </a:lnTo>
                        <a:lnTo>
                          <a:pt x="378" y="326"/>
                        </a:lnTo>
                        <a:lnTo>
                          <a:pt x="374" y="332"/>
                        </a:lnTo>
                        <a:lnTo>
                          <a:pt x="373" y="339"/>
                        </a:lnTo>
                        <a:lnTo>
                          <a:pt x="372" y="352"/>
                        </a:lnTo>
                        <a:lnTo>
                          <a:pt x="372" y="363"/>
                        </a:lnTo>
                        <a:lnTo>
                          <a:pt x="359" y="372"/>
                        </a:lnTo>
                        <a:lnTo>
                          <a:pt x="339" y="387"/>
                        </a:lnTo>
                        <a:lnTo>
                          <a:pt x="321" y="401"/>
                        </a:lnTo>
                        <a:lnTo>
                          <a:pt x="312" y="406"/>
                        </a:lnTo>
                        <a:lnTo>
                          <a:pt x="205" y="388"/>
                        </a:lnTo>
                        <a:lnTo>
                          <a:pt x="192" y="382"/>
                        </a:lnTo>
                        <a:lnTo>
                          <a:pt x="182" y="379"/>
                        </a:lnTo>
                        <a:lnTo>
                          <a:pt x="172" y="376"/>
                        </a:lnTo>
                        <a:lnTo>
                          <a:pt x="165" y="370"/>
                        </a:lnTo>
                        <a:lnTo>
                          <a:pt x="157" y="365"/>
                        </a:lnTo>
                        <a:lnTo>
                          <a:pt x="150" y="359"/>
                        </a:lnTo>
                        <a:lnTo>
                          <a:pt x="145" y="353"/>
                        </a:lnTo>
                        <a:lnTo>
                          <a:pt x="139" y="346"/>
                        </a:lnTo>
                        <a:lnTo>
                          <a:pt x="134" y="338"/>
                        </a:lnTo>
                        <a:lnTo>
                          <a:pt x="124" y="322"/>
                        </a:lnTo>
                        <a:lnTo>
                          <a:pt x="114" y="304"/>
                        </a:lnTo>
                        <a:lnTo>
                          <a:pt x="108" y="296"/>
                        </a:lnTo>
                        <a:lnTo>
                          <a:pt x="101" y="288"/>
                        </a:lnTo>
                        <a:lnTo>
                          <a:pt x="94" y="279"/>
                        </a:lnTo>
                        <a:lnTo>
                          <a:pt x="86" y="271"/>
                        </a:lnTo>
                        <a:lnTo>
                          <a:pt x="72" y="259"/>
                        </a:lnTo>
                        <a:lnTo>
                          <a:pt x="58" y="247"/>
                        </a:lnTo>
                        <a:lnTo>
                          <a:pt x="44" y="234"/>
                        </a:lnTo>
                        <a:lnTo>
                          <a:pt x="31" y="220"/>
                        </a:lnTo>
                        <a:lnTo>
                          <a:pt x="24" y="213"/>
                        </a:lnTo>
                        <a:lnTo>
                          <a:pt x="19" y="204"/>
                        </a:lnTo>
                        <a:lnTo>
                          <a:pt x="13" y="195"/>
                        </a:lnTo>
                        <a:lnTo>
                          <a:pt x="9" y="186"/>
                        </a:lnTo>
                        <a:lnTo>
                          <a:pt x="4" y="176"/>
                        </a:lnTo>
                        <a:lnTo>
                          <a:pt x="2" y="166"/>
                        </a:lnTo>
                        <a:lnTo>
                          <a:pt x="0" y="154"/>
                        </a:lnTo>
                        <a:lnTo>
                          <a:pt x="0" y="141"/>
                        </a:lnTo>
                        <a:lnTo>
                          <a:pt x="18" y="141"/>
                        </a:lnTo>
                        <a:lnTo>
                          <a:pt x="31" y="141"/>
                        </a:lnTo>
                        <a:lnTo>
                          <a:pt x="40" y="141"/>
                        </a:lnTo>
                        <a:lnTo>
                          <a:pt x="46" y="141"/>
                        </a:lnTo>
                        <a:lnTo>
                          <a:pt x="53" y="141"/>
                        </a:lnTo>
                        <a:lnTo>
                          <a:pt x="58" y="140"/>
                        </a:lnTo>
                        <a:lnTo>
                          <a:pt x="63" y="138"/>
                        </a:lnTo>
                        <a:lnTo>
                          <a:pt x="68" y="136"/>
                        </a:lnTo>
                        <a:lnTo>
                          <a:pt x="77" y="131"/>
                        </a:lnTo>
                        <a:lnTo>
                          <a:pt x="85" y="124"/>
                        </a:lnTo>
                        <a:lnTo>
                          <a:pt x="99" y="108"/>
                        </a:lnTo>
                        <a:lnTo>
                          <a:pt x="113" y="92"/>
                        </a:lnTo>
                        <a:lnTo>
                          <a:pt x="117" y="87"/>
                        </a:lnTo>
                        <a:lnTo>
                          <a:pt x="124" y="83"/>
                        </a:lnTo>
                        <a:lnTo>
                          <a:pt x="130" y="80"/>
                        </a:lnTo>
                        <a:lnTo>
                          <a:pt x="136" y="77"/>
                        </a:lnTo>
                        <a:lnTo>
                          <a:pt x="150" y="71"/>
                        </a:lnTo>
                        <a:lnTo>
                          <a:pt x="165" y="65"/>
                        </a:lnTo>
                        <a:lnTo>
                          <a:pt x="179" y="60"/>
                        </a:lnTo>
                        <a:lnTo>
                          <a:pt x="192" y="55"/>
                        </a:lnTo>
                        <a:lnTo>
                          <a:pt x="203" y="50"/>
                        </a:lnTo>
                        <a:lnTo>
                          <a:pt x="212" y="43"/>
                        </a:lnTo>
                        <a:lnTo>
                          <a:pt x="211" y="43"/>
                        </a:lnTo>
                        <a:lnTo>
                          <a:pt x="210" y="41"/>
                        </a:lnTo>
                        <a:lnTo>
                          <a:pt x="210" y="38"/>
                        </a:lnTo>
                        <a:lnTo>
                          <a:pt x="210" y="36"/>
                        </a:lnTo>
                        <a:lnTo>
                          <a:pt x="211" y="30"/>
                        </a:lnTo>
                        <a:lnTo>
                          <a:pt x="212" y="24"/>
                        </a:lnTo>
                        <a:lnTo>
                          <a:pt x="213" y="17"/>
                        </a:lnTo>
                        <a:lnTo>
                          <a:pt x="214" y="14"/>
                        </a:lnTo>
                        <a:lnTo>
                          <a:pt x="217" y="12"/>
                        </a:lnTo>
                        <a:lnTo>
                          <a:pt x="221" y="12"/>
                        </a:lnTo>
                        <a:lnTo>
                          <a:pt x="225" y="12"/>
                        </a:lnTo>
                        <a:lnTo>
                          <a:pt x="229" y="11"/>
                        </a:lnTo>
                        <a:lnTo>
                          <a:pt x="232" y="9"/>
                        </a:lnTo>
                        <a:lnTo>
                          <a:pt x="234" y="7"/>
                        </a:lnTo>
                        <a:lnTo>
                          <a:pt x="236" y="4"/>
                        </a:lnTo>
                        <a:lnTo>
                          <a:pt x="239" y="0"/>
                        </a:lnTo>
                        <a:lnTo>
                          <a:pt x="244" y="2"/>
                        </a:lnTo>
                        <a:lnTo>
                          <a:pt x="248" y="3"/>
                        </a:lnTo>
                        <a:lnTo>
                          <a:pt x="251" y="3"/>
                        </a:lnTo>
                        <a:lnTo>
                          <a:pt x="256" y="2"/>
                        </a:lnTo>
                        <a:lnTo>
                          <a:pt x="264" y="1"/>
                        </a:lnTo>
                        <a:lnTo>
                          <a:pt x="272" y="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18" name="Freeform 477">
                    <a:hlinkClick r:id="rId57" action="ppaction://hlinkpres?slideindex=1&amp;slidetitle=" tooltip="Zambia"/>
                  </p:cNvPr>
                  <p:cNvSpPr>
                    <a:spLocks/>
                  </p:cNvSpPr>
                  <p:nvPr>
                    <p:custDataLst>
                      <p:tags r:id="rId49"/>
                    </p:custDataLst>
                  </p:nvPr>
                </p:nvSpPr>
                <p:spPr bwMode="auto">
                  <a:xfrm>
                    <a:off x="5292239" y="4192585"/>
                    <a:ext cx="932730" cy="708830"/>
                  </a:xfrm>
                  <a:custGeom>
                    <a:avLst/>
                    <a:gdLst>
                      <a:gd name="T0" fmla="*/ 2147483647 w 678"/>
                      <a:gd name="T1" fmla="*/ 2147483647 h 574"/>
                      <a:gd name="T2" fmla="*/ 2147483647 w 678"/>
                      <a:gd name="T3" fmla="*/ 2147483647 h 574"/>
                      <a:gd name="T4" fmla="*/ 2147483647 w 678"/>
                      <a:gd name="T5" fmla="*/ 2147483647 h 574"/>
                      <a:gd name="T6" fmla="*/ 2147483647 w 678"/>
                      <a:gd name="T7" fmla="*/ 2147483647 h 574"/>
                      <a:gd name="T8" fmla="*/ 2147483647 w 678"/>
                      <a:gd name="T9" fmla="*/ 2147483647 h 574"/>
                      <a:gd name="T10" fmla="*/ 2147483647 w 678"/>
                      <a:gd name="T11" fmla="*/ 2147483647 h 574"/>
                      <a:gd name="T12" fmla="*/ 2147483647 w 678"/>
                      <a:gd name="T13" fmla="*/ 2147483647 h 574"/>
                      <a:gd name="T14" fmla="*/ 2147483647 w 678"/>
                      <a:gd name="T15" fmla="*/ 2147483647 h 574"/>
                      <a:gd name="T16" fmla="*/ 2147483647 w 678"/>
                      <a:gd name="T17" fmla="*/ 2147483647 h 574"/>
                      <a:gd name="T18" fmla="*/ 2147483647 w 678"/>
                      <a:gd name="T19" fmla="*/ 2147483647 h 574"/>
                      <a:gd name="T20" fmla="*/ 2147483647 w 678"/>
                      <a:gd name="T21" fmla="*/ 2147483647 h 574"/>
                      <a:gd name="T22" fmla="*/ 2147483647 w 678"/>
                      <a:gd name="T23" fmla="*/ 2147483647 h 574"/>
                      <a:gd name="T24" fmla="*/ 2147483647 w 678"/>
                      <a:gd name="T25" fmla="*/ 2147483647 h 574"/>
                      <a:gd name="T26" fmla="*/ 2147483647 w 678"/>
                      <a:gd name="T27" fmla="*/ 2147483647 h 574"/>
                      <a:gd name="T28" fmla="*/ 2147483647 w 678"/>
                      <a:gd name="T29" fmla="*/ 2147483647 h 574"/>
                      <a:gd name="T30" fmla="*/ 2147483647 w 678"/>
                      <a:gd name="T31" fmla="*/ 2147483647 h 574"/>
                      <a:gd name="T32" fmla="*/ 2147483647 w 678"/>
                      <a:gd name="T33" fmla="*/ 2147483647 h 574"/>
                      <a:gd name="T34" fmla="*/ 2147483647 w 678"/>
                      <a:gd name="T35" fmla="*/ 2147483647 h 574"/>
                      <a:gd name="T36" fmla="*/ 2147483647 w 678"/>
                      <a:gd name="T37" fmla="*/ 2147483647 h 574"/>
                      <a:gd name="T38" fmla="*/ 2147483647 w 678"/>
                      <a:gd name="T39" fmla="*/ 2147483647 h 574"/>
                      <a:gd name="T40" fmla="*/ 2147483647 w 678"/>
                      <a:gd name="T41" fmla="*/ 2147483647 h 574"/>
                      <a:gd name="T42" fmla="*/ 2147483647 w 678"/>
                      <a:gd name="T43" fmla="*/ 2147483647 h 574"/>
                      <a:gd name="T44" fmla="*/ 2147483647 w 678"/>
                      <a:gd name="T45" fmla="*/ 2147483647 h 574"/>
                      <a:gd name="T46" fmla="*/ 2147483647 w 678"/>
                      <a:gd name="T47" fmla="*/ 2147483647 h 574"/>
                      <a:gd name="T48" fmla="*/ 2147483647 w 678"/>
                      <a:gd name="T49" fmla="*/ 2147483647 h 574"/>
                      <a:gd name="T50" fmla="*/ 2147483647 w 678"/>
                      <a:gd name="T51" fmla="*/ 2147483647 h 574"/>
                      <a:gd name="T52" fmla="*/ 2147483647 w 678"/>
                      <a:gd name="T53" fmla="*/ 2147483647 h 574"/>
                      <a:gd name="T54" fmla="*/ 2147483647 w 678"/>
                      <a:gd name="T55" fmla="*/ 2147483647 h 574"/>
                      <a:gd name="T56" fmla="*/ 2147483647 w 678"/>
                      <a:gd name="T57" fmla="*/ 2147483647 h 574"/>
                      <a:gd name="T58" fmla="*/ 2147483647 w 678"/>
                      <a:gd name="T59" fmla="*/ 2147483647 h 574"/>
                      <a:gd name="T60" fmla="*/ 2147483647 w 678"/>
                      <a:gd name="T61" fmla="*/ 2147483647 h 574"/>
                      <a:gd name="T62" fmla="*/ 2147483647 w 678"/>
                      <a:gd name="T63" fmla="*/ 2147483647 h 574"/>
                      <a:gd name="T64" fmla="*/ 0 w 678"/>
                      <a:gd name="T65" fmla="*/ 2147483647 h 574"/>
                      <a:gd name="T66" fmla="*/ 2147483647 w 678"/>
                      <a:gd name="T67" fmla="*/ 2147483647 h 574"/>
                      <a:gd name="T68" fmla="*/ 2147483647 w 678"/>
                      <a:gd name="T69" fmla="*/ 2147483647 h 574"/>
                      <a:gd name="T70" fmla="*/ 2147483647 w 678"/>
                      <a:gd name="T71" fmla="*/ 2147483647 h 574"/>
                      <a:gd name="T72" fmla="*/ 2147483647 w 678"/>
                      <a:gd name="T73" fmla="*/ 2147483647 h 574"/>
                      <a:gd name="T74" fmla="*/ 2147483647 w 678"/>
                      <a:gd name="T75" fmla="*/ 2147483647 h 574"/>
                      <a:gd name="T76" fmla="*/ 2147483647 w 678"/>
                      <a:gd name="T77" fmla="*/ 2147483647 h 574"/>
                      <a:gd name="T78" fmla="*/ 2147483647 w 678"/>
                      <a:gd name="T79" fmla="*/ 2147483647 h 574"/>
                      <a:gd name="T80" fmla="*/ 2147483647 w 678"/>
                      <a:gd name="T81" fmla="*/ 2147483647 h 574"/>
                      <a:gd name="T82" fmla="*/ 2147483647 w 678"/>
                      <a:gd name="T83" fmla="*/ 2147483647 h 574"/>
                      <a:gd name="T84" fmla="*/ 2147483647 w 678"/>
                      <a:gd name="T85" fmla="*/ 2147483647 h 574"/>
                      <a:gd name="T86" fmla="*/ 2147483647 w 678"/>
                      <a:gd name="T87" fmla="*/ 2147483647 h 574"/>
                      <a:gd name="T88" fmla="*/ 2147483647 w 678"/>
                      <a:gd name="T89" fmla="*/ 2147483647 h 574"/>
                      <a:gd name="T90" fmla="*/ 2147483647 w 678"/>
                      <a:gd name="T91" fmla="*/ 2147483647 h 574"/>
                      <a:gd name="T92" fmla="*/ 2147483647 w 678"/>
                      <a:gd name="T93" fmla="*/ 2147483647 h 574"/>
                      <a:gd name="T94" fmla="*/ 2147483647 w 678"/>
                      <a:gd name="T95" fmla="*/ 2147483647 h 574"/>
                      <a:gd name="T96" fmla="*/ 2147483647 w 678"/>
                      <a:gd name="T97" fmla="*/ 2147483647 h 574"/>
                      <a:gd name="T98" fmla="*/ 2147483647 w 678"/>
                      <a:gd name="T99" fmla="*/ 2147483647 h 574"/>
                      <a:gd name="T100" fmla="*/ 2147483647 w 678"/>
                      <a:gd name="T101" fmla="*/ 2147483647 h 574"/>
                      <a:gd name="T102" fmla="*/ 2147483647 w 678"/>
                      <a:gd name="T103" fmla="*/ 2147483647 h 574"/>
                      <a:gd name="T104" fmla="*/ 2147483647 w 678"/>
                      <a:gd name="T105" fmla="*/ 2147483647 h 574"/>
                      <a:gd name="T106" fmla="*/ 2147483647 w 678"/>
                      <a:gd name="T107" fmla="*/ 2147483647 h 574"/>
                      <a:gd name="T108" fmla="*/ 2147483647 w 678"/>
                      <a:gd name="T109" fmla="*/ 2147483647 h 574"/>
                      <a:gd name="T110" fmla="*/ 2147483647 w 678"/>
                      <a:gd name="T111" fmla="*/ 2147483647 h 574"/>
                      <a:gd name="T112" fmla="*/ 2147483647 w 678"/>
                      <a:gd name="T113" fmla="*/ 2147483647 h 574"/>
                      <a:gd name="T114" fmla="*/ 2147483647 w 678"/>
                      <a:gd name="T115" fmla="*/ 2147483647 h 574"/>
                      <a:gd name="T116" fmla="*/ 2147483647 w 678"/>
                      <a:gd name="T117" fmla="*/ 2147483647 h 574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678"/>
                      <a:gd name="T178" fmla="*/ 0 h 574"/>
                      <a:gd name="T179" fmla="*/ 678 w 678"/>
                      <a:gd name="T180" fmla="*/ 574 h 574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678" h="574">
                        <a:moveTo>
                          <a:pt x="505" y="1"/>
                        </a:moveTo>
                        <a:lnTo>
                          <a:pt x="507" y="4"/>
                        </a:lnTo>
                        <a:lnTo>
                          <a:pt x="513" y="8"/>
                        </a:lnTo>
                        <a:lnTo>
                          <a:pt x="521" y="12"/>
                        </a:lnTo>
                        <a:lnTo>
                          <a:pt x="529" y="16"/>
                        </a:lnTo>
                        <a:lnTo>
                          <a:pt x="552" y="26"/>
                        </a:lnTo>
                        <a:lnTo>
                          <a:pt x="578" y="37"/>
                        </a:lnTo>
                        <a:lnTo>
                          <a:pt x="624" y="55"/>
                        </a:lnTo>
                        <a:lnTo>
                          <a:pt x="645" y="63"/>
                        </a:lnTo>
                        <a:lnTo>
                          <a:pt x="650" y="73"/>
                        </a:lnTo>
                        <a:lnTo>
                          <a:pt x="657" y="84"/>
                        </a:lnTo>
                        <a:lnTo>
                          <a:pt x="660" y="88"/>
                        </a:lnTo>
                        <a:lnTo>
                          <a:pt x="666" y="91"/>
                        </a:lnTo>
                        <a:lnTo>
                          <a:pt x="671" y="93"/>
                        </a:lnTo>
                        <a:lnTo>
                          <a:pt x="678" y="94"/>
                        </a:lnTo>
                        <a:lnTo>
                          <a:pt x="678" y="107"/>
                        </a:lnTo>
                        <a:lnTo>
                          <a:pt x="678" y="118"/>
                        </a:lnTo>
                        <a:lnTo>
                          <a:pt x="678" y="127"/>
                        </a:lnTo>
                        <a:lnTo>
                          <a:pt x="678" y="137"/>
                        </a:lnTo>
                        <a:lnTo>
                          <a:pt x="678" y="141"/>
                        </a:lnTo>
                        <a:lnTo>
                          <a:pt x="677" y="144"/>
                        </a:lnTo>
                        <a:lnTo>
                          <a:pt x="674" y="148"/>
                        </a:lnTo>
                        <a:lnTo>
                          <a:pt x="673" y="151"/>
                        </a:lnTo>
                        <a:lnTo>
                          <a:pt x="667" y="158"/>
                        </a:lnTo>
                        <a:lnTo>
                          <a:pt x="660" y="165"/>
                        </a:lnTo>
                        <a:lnTo>
                          <a:pt x="653" y="172"/>
                        </a:lnTo>
                        <a:lnTo>
                          <a:pt x="647" y="178"/>
                        </a:lnTo>
                        <a:lnTo>
                          <a:pt x="641" y="185"/>
                        </a:lnTo>
                        <a:lnTo>
                          <a:pt x="638" y="192"/>
                        </a:lnTo>
                        <a:lnTo>
                          <a:pt x="638" y="346"/>
                        </a:lnTo>
                        <a:lnTo>
                          <a:pt x="466" y="378"/>
                        </a:lnTo>
                        <a:lnTo>
                          <a:pt x="464" y="382"/>
                        </a:lnTo>
                        <a:lnTo>
                          <a:pt x="461" y="388"/>
                        </a:lnTo>
                        <a:lnTo>
                          <a:pt x="460" y="394"/>
                        </a:lnTo>
                        <a:lnTo>
                          <a:pt x="460" y="400"/>
                        </a:lnTo>
                        <a:lnTo>
                          <a:pt x="461" y="415"/>
                        </a:lnTo>
                        <a:lnTo>
                          <a:pt x="466" y="433"/>
                        </a:lnTo>
                        <a:lnTo>
                          <a:pt x="460" y="434"/>
                        </a:lnTo>
                        <a:lnTo>
                          <a:pt x="455" y="435"/>
                        </a:lnTo>
                        <a:lnTo>
                          <a:pt x="451" y="436"/>
                        </a:lnTo>
                        <a:lnTo>
                          <a:pt x="448" y="436"/>
                        </a:lnTo>
                        <a:lnTo>
                          <a:pt x="444" y="435"/>
                        </a:lnTo>
                        <a:lnTo>
                          <a:pt x="439" y="433"/>
                        </a:lnTo>
                        <a:lnTo>
                          <a:pt x="436" y="437"/>
                        </a:lnTo>
                        <a:lnTo>
                          <a:pt x="434" y="440"/>
                        </a:lnTo>
                        <a:lnTo>
                          <a:pt x="432" y="442"/>
                        </a:lnTo>
                        <a:lnTo>
                          <a:pt x="429" y="444"/>
                        </a:lnTo>
                        <a:lnTo>
                          <a:pt x="425" y="445"/>
                        </a:lnTo>
                        <a:lnTo>
                          <a:pt x="421" y="445"/>
                        </a:lnTo>
                        <a:lnTo>
                          <a:pt x="417" y="445"/>
                        </a:lnTo>
                        <a:lnTo>
                          <a:pt x="414" y="447"/>
                        </a:lnTo>
                        <a:lnTo>
                          <a:pt x="413" y="450"/>
                        </a:lnTo>
                        <a:lnTo>
                          <a:pt x="412" y="457"/>
                        </a:lnTo>
                        <a:lnTo>
                          <a:pt x="411" y="463"/>
                        </a:lnTo>
                        <a:lnTo>
                          <a:pt x="410" y="469"/>
                        </a:lnTo>
                        <a:lnTo>
                          <a:pt x="410" y="471"/>
                        </a:lnTo>
                        <a:lnTo>
                          <a:pt x="410" y="474"/>
                        </a:lnTo>
                        <a:lnTo>
                          <a:pt x="411" y="476"/>
                        </a:lnTo>
                        <a:lnTo>
                          <a:pt x="412" y="476"/>
                        </a:lnTo>
                        <a:lnTo>
                          <a:pt x="403" y="483"/>
                        </a:lnTo>
                        <a:lnTo>
                          <a:pt x="392" y="488"/>
                        </a:lnTo>
                        <a:lnTo>
                          <a:pt x="379" y="493"/>
                        </a:lnTo>
                        <a:lnTo>
                          <a:pt x="365" y="498"/>
                        </a:lnTo>
                        <a:lnTo>
                          <a:pt x="350" y="504"/>
                        </a:lnTo>
                        <a:lnTo>
                          <a:pt x="336" y="510"/>
                        </a:lnTo>
                        <a:lnTo>
                          <a:pt x="330" y="513"/>
                        </a:lnTo>
                        <a:lnTo>
                          <a:pt x="324" y="516"/>
                        </a:lnTo>
                        <a:lnTo>
                          <a:pt x="317" y="520"/>
                        </a:lnTo>
                        <a:lnTo>
                          <a:pt x="313" y="525"/>
                        </a:lnTo>
                        <a:lnTo>
                          <a:pt x="299" y="541"/>
                        </a:lnTo>
                        <a:lnTo>
                          <a:pt x="285" y="557"/>
                        </a:lnTo>
                        <a:lnTo>
                          <a:pt x="277" y="564"/>
                        </a:lnTo>
                        <a:lnTo>
                          <a:pt x="268" y="569"/>
                        </a:lnTo>
                        <a:lnTo>
                          <a:pt x="263" y="571"/>
                        </a:lnTo>
                        <a:lnTo>
                          <a:pt x="258" y="573"/>
                        </a:lnTo>
                        <a:lnTo>
                          <a:pt x="253" y="574"/>
                        </a:lnTo>
                        <a:lnTo>
                          <a:pt x="246" y="574"/>
                        </a:lnTo>
                        <a:lnTo>
                          <a:pt x="238" y="574"/>
                        </a:lnTo>
                        <a:lnTo>
                          <a:pt x="227" y="574"/>
                        </a:lnTo>
                        <a:lnTo>
                          <a:pt x="212" y="574"/>
                        </a:lnTo>
                        <a:lnTo>
                          <a:pt x="193" y="574"/>
                        </a:lnTo>
                        <a:lnTo>
                          <a:pt x="192" y="569"/>
                        </a:lnTo>
                        <a:lnTo>
                          <a:pt x="189" y="564"/>
                        </a:lnTo>
                        <a:lnTo>
                          <a:pt x="186" y="559"/>
                        </a:lnTo>
                        <a:lnTo>
                          <a:pt x="180" y="554"/>
                        </a:lnTo>
                        <a:lnTo>
                          <a:pt x="173" y="550"/>
                        </a:lnTo>
                        <a:lnTo>
                          <a:pt x="165" y="547"/>
                        </a:lnTo>
                        <a:lnTo>
                          <a:pt x="156" y="545"/>
                        </a:lnTo>
                        <a:lnTo>
                          <a:pt x="146" y="544"/>
                        </a:lnTo>
                        <a:lnTo>
                          <a:pt x="133" y="545"/>
                        </a:lnTo>
                        <a:lnTo>
                          <a:pt x="120" y="548"/>
                        </a:lnTo>
                        <a:lnTo>
                          <a:pt x="108" y="552"/>
                        </a:lnTo>
                        <a:lnTo>
                          <a:pt x="93" y="556"/>
                        </a:lnTo>
                        <a:lnTo>
                          <a:pt x="61" y="556"/>
                        </a:lnTo>
                        <a:lnTo>
                          <a:pt x="48" y="544"/>
                        </a:lnTo>
                        <a:lnTo>
                          <a:pt x="33" y="527"/>
                        </a:lnTo>
                        <a:lnTo>
                          <a:pt x="17" y="510"/>
                        </a:lnTo>
                        <a:lnTo>
                          <a:pt x="0" y="494"/>
                        </a:lnTo>
                        <a:lnTo>
                          <a:pt x="0" y="285"/>
                        </a:lnTo>
                        <a:lnTo>
                          <a:pt x="21" y="286"/>
                        </a:lnTo>
                        <a:lnTo>
                          <a:pt x="54" y="286"/>
                        </a:lnTo>
                        <a:lnTo>
                          <a:pt x="73" y="286"/>
                        </a:lnTo>
                        <a:lnTo>
                          <a:pt x="89" y="285"/>
                        </a:lnTo>
                        <a:lnTo>
                          <a:pt x="97" y="284"/>
                        </a:lnTo>
                        <a:lnTo>
                          <a:pt x="103" y="282"/>
                        </a:lnTo>
                        <a:lnTo>
                          <a:pt x="109" y="281"/>
                        </a:lnTo>
                        <a:lnTo>
                          <a:pt x="113" y="279"/>
                        </a:lnTo>
                        <a:lnTo>
                          <a:pt x="119" y="275"/>
                        </a:lnTo>
                        <a:lnTo>
                          <a:pt x="123" y="269"/>
                        </a:lnTo>
                        <a:lnTo>
                          <a:pt x="126" y="263"/>
                        </a:lnTo>
                        <a:lnTo>
                          <a:pt x="129" y="256"/>
                        </a:lnTo>
                        <a:lnTo>
                          <a:pt x="130" y="247"/>
                        </a:lnTo>
                        <a:lnTo>
                          <a:pt x="131" y="238"/>
                        </a:lnTo>
                        <a:lnTo>
                          <a:pt x="131" y="229"/>
                        </a:lnTo>
                        <a:lnTo>
                          <a:pt x="130" y="220"/>
                        </a:lnTo>
                        <a:lnTo>
                          <a:pt x="129" y="202"/>
                        </a:lnTo>
                        <a:lnTo>
                          <a:pt x="126" y="185"/>
                        </a:lnTo>
                        <a:lnTo>
                          <a:pt x="125" y="171"/>
                        </a:lnTo>
                        <a:lnTo>
                          <a:pt x="126" y="162"/>
                        </a:lnTo>
                        <a:lnTo>
                          <a:pt x="130" y="165"/>
                        </a:lnTo>
                        <a:lnTo>
                          <a:pt x="132" y="168"/>
                        </a:lnTo>
                        <a:lnTo>
                          <a:pt x="136" y="170"/>
                        </a:lnTo>
                        <a:lnTo>
                          <a:pt x="140" y="171"/>
                        </a:lnTo>
                        <a:lnTo>
                          <a:pt x="147" y="174"/>
                        </a:lnTo>
                        <a:lnTo>
                          <a:pt x="156" y="175"/>
                        </a:lnTo>
                        <a:lnTo>
                          <a:pt x="174" y="175"/>
                        </a:lnTo>
                        <a:lnTo>
                          <a:pt x="187" y="174"/>
                        </a:lnTo>
                        <a:lnTo>
                          <a:pt x="187" y="180"/>
                        </a:lnTo>
                        <a:lnTo>
                          <a:pt x="188" y="186"/>
                        </a:lnTo>
                        <a:lnTo>
                          <a:pt x="190" y="191"/>
                        </a:lnTo>
                        <a:lnTo>
                          <a:pt x="192" y="197"/>
                        </a:lnTo>
                        <a:lnTo>
                          <a:pt x="195" y="201"/>
                        </a:lnTo>
                        <a:lnTo>
                          <a:pt x="199" y="204"/>
                        </a:lnTo>
                        <a:lnTo>
                          <a:pt x="202" y="207"/>
                        </a:lnTo>
                        <a:lnTo>
                          <a:pt x="208" y="210"/>
                        </a:lnTo>
                        <a:lnTo>
                          <a:pt x="218" y="213"/>
                        </a:lnTo>
                        <a:lnTo>
                          <a:pt x="229" y="216"/>
                        </a:lnTo>
                        <a:lnTo>
                          <a:pt x="241" y="217"/>
                        </a:lnTo>
                        <a:lnTo>
                          <a:pt x="253" y="217"/>
                        </a:lnTo>
                        <a:lnTo>
                          <a:pt x="260" y="216"/>
                        </a:lnTo>
                        <a:lnTo>
                          <a:pt x="269" y="214"/>
                        </a:lnTo>
                        <a:lnTo>
                          <a:pt x="277" y="211"/>
                        </a:lnTo>
                        <a:lnTo>
                          <a:pt x="286" y="207"/>
                        </a:lnTo>
                        <a:lnTo>
                          <a:pt x="301" y="199"/>
                        </a:lnTo>
                        <a:lnTo>
                          <a:pt x="313" y="192"/>
                        </a:lnTo>
                        <a:lnTo>
                          <a:pt x="315" y="195"/>
                        </a:lnTo>
                        <a:lnTo>
                          <a:pt x="319" y="196"/>
                        </a:lnTo>
                        <a:lnTo>
                          <a:pt x="322" y="196"/>
                        </a:lnTo>
                        <a:lnTo>
                          <a:pt x="325" y="195"/>
                        </a:lnTo>
                        <a:lnTo>
                          <a:pt x="331" y="193"/>
                        </a:lnTo>
                        <a:lnTo>
                          <a:pt x="333" y="192"/>
                        </a:lnTo>
                        <a:lnTo>
                          <a:pt x="338" y="192"/>
                        </a:lnTo>
                        <a:lnTo>
                          <a:pt x="343" y="190"/>
                        </a:lnTo>
                        <a:lnTo>
                          <a:pt x="348" y="188"/>
                        </a:lnTo>
                        <a:lnTo>
                          <a:pt x="353" y="185"/>
                        </a:lnTo>
                        <a:lnTo>
                          <a:pt x="357" y="182"/>
                        </a:lnTo>
                        <a:lnTo>
                          <a:pt x="360" y="178"/>
                        </a:lnTo>
                        <a:lnTo>
                          <a:pt x="364" y="173"/>
                        </a:lnTo>
                        <a:lnTo>
                          <a:pt x="368" y="168"/>
                        </a:lnTo>
                        <a:lnTo>
                          <a:pt x="373" y="156"/>
                        </a:lnTo>
                        <a:lnTo>
                          <a:pt x="379" y="142"/>
                        </a:lnTo>
                        <a:lnTo>
                          <a:pt x="383" y="126"/>
                        </a:lnTo>
                        <a:lnTo>
                          <a:pt x="388" y="111"/>
                        </a:lnTo>
                        <a:lnTo>
                          <a:pt x="395" y="78"/>
                        </a:lnTo>
                        <a:lnTo>
                          <a:pt x="403" y="47"/>
                        </a:lnTo>
                        <a:lnTo>
                          <a:pt x="406" y="33"/>
                        </a:lnTo>
                        <a:lnTo>
                          <a:pt x="410" y="20"/>
                        </a:lnTo>
                        <a:lnTo>
                          <a:pt x="414" y="10"/>
                        </a:lnTo>
                        <a:lnTo>
                          <a:pt x="418" y="1"/>
                        </a:lnTo>
                        <a:lnTo>
                          <a:pt x="425" y="4"/>
                        </a:lnTo>
                        <a:lnTo>
                          <a:pt x="431" y="6"/>
                        </a:lnTo>
                        <a:lnTo>
                          <a:pt x="436" y="8"/>
                        </a:lnTo>
                        <a:lnTo>
                          <a:pt x="442" y="8"/>
                        </a:lnTo>
                        <a:lnTo>
                          <a:pt x="453" y="8"/>
                        </a:lnTo>
                        <a:lnTo>
                          <a:pt x="462" y="6"/>
                        </a:lnTo>
                        <a:lnTo>
                          <a:pt x="472" y="4"/>
                        </a:lnTo>
                        <a:lnTo>
                          <a:pt x="482" y="1"/>
                        </a:lnTo>
                        <a:lnTo>
                          <a:pt x="493" y="0"/>
                        </a:lnTo>
                        <a:lnTo>
                          <a:pt x="505" y="1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0819" name="Freeform 478">
                    <a:hlinkClick r:id="rId57" action="ppaction://hlinkpres?slideindex=1&amp;slidetitle=" tooltip="Namibia"/>
                  </p:cNvPr>
                  <p:cNvSpPr>
                    <a:spLocks/>
                  </p:cNvSpPr>
                  <p:nvPr>
                    <p:custDataLst>
                      <p:tags r:id="rId50"/>
                    </p:custDataLst>
                  </p:nvPr>
                </p:nvSpPr>
                <p:spPr bwMode="auto">
                  <a:xfrm>
                    <a:off x="4455302" y="4837657"/>
                    <a:ext cx="1114234" cy="900100"/>
                  </a:xfrm>
                  <a:custGeom>
                    <a:avLst/>
                    <a:gdLst>
                      <a:gd name="T0" fmla="*/ 2147483647 w 810"/>
                      <a:gd name="T1" fmla="*/ 2147483647 h 727"/>
                      <a:gd name="T2" fmla="*/ 2147483647 w 810"/>
                      <a:gd name="T3" fmla="*/ 2147483647 h 727"/>
                      <a:gd name="T4" fmla="*/ 2147483647 w 810"/>
                      <a:gd name="T5" fmla="*/ 2147483647 h 727"/>
                      <a:gd name="T6" fmla="*/ 2147483647 w 810"/>
                      <a:gd name="T7" fmla="*/ 2147483647 h 727"/>
                      <a:gd name="T8" fmla="*/ 2147483647 w 810"/>
                      <a:gd name="T9" fmla="*/ 2147483647 h 727"/>
                      <a:gd name="T10" fmla="*/ 2147483647 w 810"/>
                      <a:gd name="T11" fmla="*/ 2147483647 h 727"/>
                      <a:gd name="T12" fmla="*/ 2147483647 w 810"/>
                      <a:gd name="T13" fmla="*/ 2147483647 h 727"/>
                      <a:gd name="T14" fmla="*/ 2147483647 w 810"/>
                      <a:gd name="T15" fmla="*/ 2147483647 h 727"/>
                      <a:gd name="T16" fmla="*/ 2147483647 w 810"/>
                      <a:gd name="T17" fmla="*/ 0 h 727"/>
                      <a:gd name="T18" fmla="*/ 2147483647 w 810"/>
                      <a:gd name="T19" fmla="*/ 2147483647 h 727"/>
                      <a:gd name="T20" fmla="*/ 2147483647 w 810"/>
                      <a:gd name="T21" fmla="*/ 2147483647 h 727"/>
                      <a:gd name="T22" fmla="*/ 0 w 810"/>
                      <a:gd name="T23" fmla="*/ 2147483647 h 727"/>
                      <a:gd name="T24" fmla="*/ 2147483647 w 810"/>
                      <a:gd name="T25" fmla="*/ 2147483647 h 727"/>
                      <a:gd name="T26" fmla="*/ 2147483647 w 810"/>
                      <a:gd name="T27" fmla="*/ 2147483647 h 727"/>
                      <a:gd name="T28" fmla="*/ 2147483647 w 810"/>
                      <a:gd name="T29" fmla="*/ 2147483647 h 727"/>
                      <a:gd name="T30" fmla="*/ 2147483647 w 810"/>
                      <a:gd name="T31" fmla="*/ 2147483647 h 727"/>
                      <a:gd name="T32" fmla="*/ 2147483647 w 810"/>
                      <a:gd name="T33" fmla="*/ 2147483647 h 727"/>
                      <a:gd name="T34" fmla="*/ 2147483647 w 810"/>
                      <a:gd name="T35" fmla="*/ 2147483647 h 727"/>
                      <a:gd name="T36" fmla="*/ 2147483647 w 810"/>
                      <a:gd name="T37" fmla="*/ 2147483647 h 727"/>
                      <a:gd name="T38" fmla="*/ 2147483647 w 810"/>
                      <a:gd name="T39" fmla="*/ 2147483647 h 727"/>
                      <a:gd name="T40" fmla="*/ 2147483647 w 810"/>
                      <a:gd name="T41" fmla="*/ 2147483647 h 727"/>
                      <a:gd name="T42" fmla="*/ 2147483647 w 810"/>
                      <a:gd name="T43" fmla="*/ 2147483647 h 727"/>
                      <a:gd name="T44" fmla="*/ 2147483647 w 810"/>
                      <a:gd name="T45" fmla="*/ 2147483647 h 727"/>
                      <a:gd name="T46" fmla="*/ 2147483647 w 810"/>
                      <a:gd name="T47" fmla="*/ 2147483647 h 727"/>
                      <a:gd name="T48" fmla="*/ 2147483647 w 810"/>
                      <a:gd name="T49" fmla="*/ 2147483647 h 727"/>
                      <a:gd name="T50" fmla="*/ 2147483647 w 810"/>
                      <a:gd name="T51" fmla="*/ 2147483647 h 727"/>
                      <a:gd name="T52" fmla="*/ 2147483647 w 810"/>
                      <a:gd name="T53" fmla="*/ 2147483647 h 727"/>
                      <a:gd name="T54" fmla="*/ 2147483647 w 810"/>
                      <a:gd name="T55" fmla="*/ 2147483647 h 727"/>
                      <a:gd name="T56" fmla="*/ 2147483647 w 810"/>
                      <a:gd name="T57" fmla="*/ 2147483647 h 727"/>
                      <a:gd name="T58" fmla="*/ 2147483647 w 810"/>
                      <a:gd name="T59" fmla="*/ 2147483647 h 727"/>
                      <a:gd name="T60" fmla="*/ 2147483647 w 810"/>
                      <a:gd name="T61" fmla="*/ 2147483647 h 727"/>
                      <a:gd name="T62" fmla="*/ 2147483647 w 810"/>
                      <a:gd name="T63" fmla="*/ 2147483647 h 727"/>
                      <a:gd name="T64" fmla="*/ 2147483647 w 810"/>
                      <a:gd name="T65" fmla="*/ 2147483647 h 727"/>
                      <a:gd name="T66" fmla="*/ 2147483647 w 810"/>
                      <a:gd name="T67" fmla="*/ 2147483647 h 727"/>
                      <a:gd name="T68" fmla="*/ 2147483647 w 810"/>
                      <a:gd name="T69" fmla="*/ 2147483647 h 727"/>
                      <a:gd name="T70" fmla="*/ 2147483647 w 810"/>
                      <a:gd name="T71" fmla="*/ 2147483647 h 727"/>
                      <a:gd name="T72" fmla="*/ 2147483647 w 810"/>
                      <a:gd name="T73" fmla="*/ 2147483647 h 727"/>
                      <a:gd name="T74" fmla="*/ 2147483647 w 810"/>
                      <a:gd name="T75" fmla="*/ 2147483647 h 727"/>
                      <a:gd name="T76" fmla="*/ 2147483647 w 810"/>
                      <a:gd name="T77" fmla="*/ 2147483647 h 727"/>
                      <a:gd name="T78" fmla="*/ 2147483647 w 810"/>
                      <a:gd name="T79" fmla="*/ 2147483647 h 727"/>
                      <a:gd name="T80" fmla="*/ 2147483647 w 810"/>
                      <a:gd name="T81" fmla="*/ 2147483647 h 727"/>
                      <a:gd name="T82" fmla="*/ 2147483647 w 810"/>
                      <a:gd name="T83" fmla="*/ 2147483647 h 727"/>
                      <a:gd name="T84" fmla="*/ 2147483647 w 810"/>
                      <a:gd name="T85" fmla="*/ 2147483647 h 727"/>
                      <a:gd name="T86" fmla="*/ 2147483647 w 810"/>
                      <a:gd name="T87" fmla="*/ 2147483647 h 727"/>
                      <a:gd name="T88" fmla="*/ 2147483647 w 810"/>
                      <a:gd name="T89" fmla="*/ 2147483647 h 727"/>
                      <a:gd name="T90" fmla="*/ 2147483647 w 810"/>
                      <a:gd name="T91" fmla="*/ 2147483647 h 727"/>
                      <a:gd name="T92" fmla="*/ 2147483647 w 810"/>
                      <a:gd name="T93" fmla="*/ 2147483647 h 727"/>
                      <a:gd name="T94" fmla="*/ 2147483647 w 810"/>
                      <a:gd name="T95" fmla="*/ 2147483647 h 727"/>
                      <a:gd name="T96" fmla="*/ 2147483647 w 810"/>
                      <a:gd name="T97" fmla="*/ 2147483647 h 727"/>
                      <a:gd name="T98" fmla="*/ 2147483647 w 810"/>
                      <a:gd name="T99" fmla="*/ 2147483647 h 727"/>
                      <a:gd name="T100" fmla="*/ 2147483647 w 810"/>
                      <a:gd name="T101" fmla="*/ 2147483647 h 727"/>
                      <a:gd name="T102" fmla="*/ 2147483647 w 810"/>
                      <a:gd name="T103" fmla="*/ 2147483647 h 727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810"/>
                      <a:gd name="T157" fmla="*/ 0 h 727"/>
                      <a:gd name="T158" fmla="*/ 810 w 810"/>
                      <a:gd name="T159" fmla="*/ 727 h 727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810" h="727">
                        <a:moveTo>
                          <a:pt x="810" y="61"/>
                        </a:moveTo>
                        <a:lnTo>
                          <a:pt x="807" y="54"/>
                        </a:lnTo>
                        <a:lnTo>
                          <a:pt x="802" y="48"/>
                        </a:lnTo>
                        <a:lnTo>
                          <a:pt x="797" y="42"/>
                        </a:lnTo>
                        <a:lnTo>
                          <a:pt x="790" y="36"/>
                        </a:lnTo>
                        <a:lnTo>
                          <a:pt x="784" y="32"/>
                        </a:lnTo>
                        <a:lnTo>
                          <a:pt x="775" y="28"/>
                        </a:lnTo>
                        <a:lnTo>
                          <a:pt x="766" y="26"/>
                        </a:lnTo>
                        <a:lnTo>
                          <a:pt x="756" y="25"/>
                        </a:lnTo>
                        <a:lnTo>
                          <a:pt x="743" y="26"/>
                        </a:lnTo>
                        <a:lnTo>
                          <a:pt x="730" y="29"/>
                        </a:lnTo>
                        <a:lnTo>
                          <a:pt x="718" y="33"/>
                        </a:lnTo>
                        <a:lnTo>
                          <a:pt x="703" y="37"/>
                        </a:lnTo>
                        <a:lnTo>
                          <a:pt x="671" y="37"/>
                        </a:lnTo>
                        <a:lnTo>
                          <a:pt x="651" y="41"/>
                        </a:lnTo>
                        <a:lnTo>
                          <a:pt x="634" y="44"/>
                        </a:lnTo>
                        <a:lnTo>
                          <a:pt x="627" y="46"/>
                        </a:lnTo>
                        <a:lnTo>
                          <a:pt x="619" y="48"/>
                        </a:lnTo>
                        <a:lnTo>
                          <a:pt x="611" y="51"/>
                        </a:lnTo>
                        <a:lnTo>
                          <a:pt x="604" y="55"/>
                        </a:lnTo>
                        <a:lnTo>
                          <a:pt x="411" y="55"/>
                        </a:lnTo>
                        <a:lnTo>
                          <a:pt x="411" y="37"/>
                        </a:lnTo>
                        <a:lnTo>
                          <a:pt x="292" y="37"/>
                        </a:lnTo>
                        <a:lnTo>
                          <a:pt x="280" y="40"/>
                        </a:lnTo>
                        <a:lnTo>
                          <a:pt x="269" y="41"/>
                        </a:lnTo>
                        <a:lnTo>
                          <a:pt x="257" y="40"/>
                        </a:lnTo>
                        <a:lnTo>
                          <a:pt x="245" y="39"/>
                        </a:lnTo>
                        <a:lnTo>
                          <a:pt x="232" y="37"/>
                        </a:lnTo>
                        <a:lnTo>
                          <a:pt x="220" y="34"/>
                        </a:lnTo>
                        <a:lnTo>
                          <a:pt x="208" y="30"/>
                        </a:lnTo>
                        <a:lnTo>
                          <a:pt x="196" y="26"/>
                        </a:lnTo>
                        <a:lnTo>
                          <a:pt x="172" y="17"/>
                        </a:lnTo>
                        <a:lnTo>
                          <a:pt x="149" y="8"/>
                        </a:lnTo>
                        <a:lnTo>
                          <a:pt x="137" y="5"/>
                        </a:lnTo>
                        <a:lnTo>
                          <a:pt x="126" y="2"/>
                        </a:lnTo>
                        <a:lnTo>
                          <a:pt x="116" y="0"/>
                        </a:lnTo>
                        <a:lnTo>
                          <a:pt x="105" y="0"/>
                        </a:lnTo>
                        <a:lnTo>
                          <a:pt x="97" y="0"/>
                        </a:lnTo>
                        <a:lnTo>
                          <a:pt x="91" y="2"/>
                        </a:lnTo>
                        <a:lnTo>
                          <a:pt x="83" y="5"/>
                        </a:lnTo>
                        <a:lnTo>
                          <a:pt x="75" y="8"/>
                        </a:lnTo>
                        <a:lnTo>
                          <a:pt x="68" y="13"/>
                        </a:lnTo>
                        <a:lnTo>
                          <a:pt x="60" y="19"/>
                        </a:lnTo>
                        <a:lnTo>
                          <a:pt x="53" y="24"/>
                        </a:lnTo>
                        <a:lnTo>
                          <a:pt x="46" y="31"/>
                        </a:lnTo>
                        <a:lnTo>
                          <a:pt x="6" y="31"/>
                        </a:lnTo>
                        <a:lnTo>
                          <a:pt x="3" y="45"/>
                        </a:lnTo>
                        <a:lnTo>
                          <a:pt x="0" y="55"/>
                        </a:lnTo>
                        <a:lnTo>
                          <a:pt x="0" y="58"/>
                        </a:lnTo>
                        <a:lnTo>
                          <a:pt x="2" y="61"/>
                        </a:lnTo>
                        <a:lnTo>
                          <a:pt x="4" y="64"/>
                        </a:lnTo>
                        <a:lnTo>
                          <a:pt x="7" y="68"/>
                        </a:lnTo>
                        <a:lnTo>
                          <a:pt x="12" y="70"/>
                        </a:lnTo>
                        <a:lnTo>
                          <a:pt x="16" y="72"/>
                        </a:lnTo>
                        <a:lnTo>
                          <a:pt x="21" y="74"/>
                        </a:lnTo>
                        <a:lnTo>
                          <a:pt x="26" y="74"/>
                        </a:lnTo>
                        <a:lnTo>
                          <a:pt x="26" y="86"/>
                        </a:lnTo>
                        <a:lnTo>
                          <a:pt x="28" y="99"/>
                        </a:lnTo>
                        <a:lnTo>
                          <a:pt x="32" y="113"/>
                        </a:lnTo>
                        <a:lnTo>
                          <a:pt x="36" y="129"/>
                        </a:lnTo>
                        <a:lnTo>
                          <a:pt x="40" y="144"/>
                        </a:lnTo>
                        <a:lnTo>
                          <a:pt x="47" y="160"/>
                        </a:lnTo>
                        <a:lnTo>
                          <a:pt x="53" y="175"/>
                        </a:lnTo>
                        <a:lnTo>
                          <a:pt x="60" y="192"/>
                        </a:lnTo>
                        <a:lnTo>
                          <a:pt x="77" y="223"/>
                        </a:lnTo>
                        <a:lnTo>
                          <a:pt x="93" y="252"/>
                        </a:lnTo>
                        <a:lnTo>
                          <a:pt x="102" y="265"/>
                        </a:lnTo>
                        <a:lnTo>
                          <a:pt x="109" y="276"/>
                        </a:lnTo>
                        <a:lnTo>
                          <a:pt x="117" y="286"/>
                        </a:lnTo>
                        <a:lnTo>
                          <a:pt x="125" y="296"/>
                        </a:lnTo>
                        <a:lnTo>
                          <a:pt x="128" y="298"/>
                        </a:lnTo>
                        <a:lnTo>
                          <a:pt x="133" y="300"/>
                        </a:lnTo>
                        <a:lnTo>
                          <a:pt x="137" y="301"/>
                        </a:lnTo>
                        <a:lnTo>
                          <a:pt x="142" y="301"/>
                        </a:lnTo>
                        <a:lnTo>
                          <a:pt x="151" y="302"/>
                        </a:lnTo>
                        <a:lnTo>
                          <a:pt x="159" y="302"/>
                        </a:lnTo>
                        <a:lnTo>
                          <a:pt x="159" y="309"/>
                        </a:lnTo>
                        <a:lnTo>
                          <a:pt x="159" y="317"/>
                        </a:lnTo>
                        <a:lnTo>
                          <a:pt x="159" y="326"/>
                        </a:lnTo>
                        <a:lnTo>
                          <a:pt x="159" y="332"/>
                        </a:lnTo>
                        <a:lnTo>
                          <a:pt x="158" y="339"/>
                        </a:lnTo>
                        <a:lnTo>
                          <a:pt x="157" y="346"/>
                        </a:lnTo>
                        <a:lnTo>
                          <a:pt x="154" y="353"/>
                        </a:lnTo>
                        <a:lnTo>
                          <a:pt x="152" y="359"/>
                        </a:lnTo>
                        <a:lnTo>
                          <a:pt x="149" y="366"/>
                        </a:lnTo>
                        <a:lnTo>
                          <a:pt x="147" y="374"/>
                        </a:lnTo>
                        <a:lnTo>
                          <a:pt x="146" y="383"/>
                        </a:lnTo>
                        <a:lnTo>
                          <a:pt x="146" y="394"/>
                        </a:lnTo>
                        <a:lnTo>
                          <a:pt x="146" y="403"/>
                        </a:lnTo>
                        <a:lnTo>
                          <a:pt x="147" y="410"/>
                        </a:lnTo>
                        <a:lnTo>
                          <a:pt x="148" y="418"/>
                        </a:lnTo>
                        <a:lnTo>
                          <a:pt x="150" y="425"/>
                        </a:lnTo>
                        <a:lnTo>
                          <a:pt x="156" y="439"/>
                        </a:lnTo>
                        <a:lnTo>
                          <a:pt x="162" y="453"/>
                        </a:lnTo>
                        <a:lnTo>
                          <a:pt x="168" y="469"/>
                        </a:lnTo>
                        <a:lnTo>
                          <a:pt x="173" y="484"/>
                        </a:lnTo>
                        <a:lnTo>
                          <a:pt x="175" y="491"/>
                        </a:lnTo>
                        <a:lnTo>
                          <a:pt x="178" y="500"/>
                        </a:lnTo>
                        <a:lnTo>
                          <a:pt x="179" y="508"/>
                        </a:lnTo>
                        <a:lnTo>
                          <a:pt x="179" y="518"/>
                        </a:lnTo>
                        <a:lnTo>
                          <a:pt x="179" y="542"/>
                        </a:lnTo>
                        <a:lnTo>
                          <a:pt x="180" y="564"/>
                        </a:lnTo>
                        <a:lnTo>
                          <a:pt x="183" y="586"/>
                        </a:lnTo>
                        <a:lnTo>
                          <a:pt x="187" y="606"/>
                        </a:lnTo>
                        <a:lnTo>
                          <a:pt x="191" y="616"/>
                        </a:lnTo>
                        <a:lnTo>
                          <a:pt x="194" y="627"/>
                        </a:lnTo>
                        <a:lnTo>
                          <a:pt x="198" y="637"/>
                        </a:lnTo>
                        <a:lnTo>
                          <a:pt x="204" y="647"/>
                        </a:lnTo>
                        <a:lnTo>
                          <a:pt x="209" y="657"/>
                        </a:lnTo>
                        <a:lnTo>
                          <a:pt x="216" y="667"/>
                        </a:lnTo>
                        <a:lnTo>
                          <a:pt x="224" y="679"/>
                        </a:lnTo>
                        <a:lnTo>
                          <a:pt x="231" y="690"/>
                        </a:lnTo>
                        <a:lnTo>
                          <a:pt x="235" y="696"/>
                        </a:lnTo>
                        <a:lnTo>
                          <a:pt x="238" y="698"/>
                        </a:lnTo>
                        <a:lnTo>
                          <a:pt x="241" y="700"/>
                        </a:lnTo>
                        <a:lnTo>
                          <a:pt x="245" y="700"/>
                        </a:lnTo>
                        <a:lnTo>
                          <a:pt x="249" y="701"/>
                        </a:lnTo>
                        <a:lnTo>
                          <a:pt x="252" y="703"/>
                        </a:lnTo>
                        <a:lnTo>
                          <a:pt x="256" y="707"/>
                        </a:lnTo>
                        <a:lnTo>
                          <a:pt x="259" y="715"/>
                        </a:lnTo>
                        <a:lnTo>
                          <a:pt x="259" y="708"/>
                        </a:lnTo>
                        <a:lnTo>
                          <a:pt x="262" y="699"/>
                        </a:lnTo>
                        <a:lnTo>
                          <a:pt x="264" y="688"/>
                        </a:lnTo>
                        <a:lnTo>
                          <a:pt x="265" y="678"/>
                        </a:lnTo>
                        <a:lnTo>
                          <a:pt x="298" y="678"/>
                        </a:lnTo>
                        <a:lnTo>
                          <a:pt x="301" y="685"/>
                        </a:lnTo>
                        <a:lnTo>
                          <a:pt x="304" y="691"/>
                        </a:lnTo>
                        <a:lnTo>
                          <a:pt x="308" y="696"/>
                        </a:lnTo>
                        <a:lnTo>
                          <a:pt x="313" y="701"/>
                        </a:lnTo>
                        <a:lnTo>
                          <a:pt x="317" y="706"/>
                        </a:lnTo>
                        <a:lnTo>
                          <a:pt x="322" y="710"/>
                        </a:lnTo>
                        <a:lnTo>
                          <a:pt x="328" y="713"/>
                        </a:lnTo>
                        <a:lnTo>
                          <a:pt x="333" y="716"/>
                        </a:lnTo>
                        <a:lnTo>
                          <a:pt x="346" y="721"/>
                        </a:lnTo>
                        <a:lnTo>
                          <a:pt x="359" y="724"/>
                        </a:lnTo>
                        <a:lnTo>
                          <a:pt x="372" y="726"/>
                        </a:lnTo>
                        <a:lnTo>
                          <a:pt x="384" y="727"/>
                        </a:lnTo>
                        <a:lnTo>
                          <a:pt x="393" y="726"/>
                        </a:lnTo>
                        <a:lnTo>
                          <a:pt x="400" y="725"/>
                        </a:lnTo>
                        <a:lnTo>
                          <a:pt x="407" y="723"/>
                        </a:lnTo>
                        <a:lnTo>
                          <a:pt x="414" y="721"/>
                        </a:lnTo>
                        <a:lnTo>
                          <a:pt x="419" y="718"/>
                        </a:lnTo>
                        <a:lnTo>
                          <a:pt x="425" y="714"/>
                        </a:lnTo>
                        <a:lnTo>
                          <a:pt x="429" y="710"/>
                        </a:lnTo>
                        <a:lnTo>
                          <a:pt x="433" y="706"/>
                        </a:lnTo>
                        <a:lnTo>
                          <a:pt x="441" y="696"/>
                        </a:lnTo>
                        <a:lnTo>
                          <a:pt x="447" y="686"/>
                        </a:lnTo>
                        <a:lnTo>
                          <a:pt x="452" y="675"/>
                        </a:lnTo>
                        <a:lnTo>
                          <a:pt x="458" y="665"/>
                        </a:lnTo>
                        <a:lnTo>
                          <a:pt x="458" y="554"/>
                        </a:lnTo>
                        <a:lnTo>
                          <a:pt x="462" y="542"/>
                        </a:lnTo>
                        <a:lnTo>
                          <a:pt x="463" y="529"/>
                        </a:lnTo>
                        <a:lnTo>
                          <a:pt x="464" y="516"/>
                        </a:lnTo>
                        <a:lnTo>
                          <a:pt x="464" y="502"/>
                        </a:lnTo>
                        <a:lnTo>
                          <a:pt x="464" y="490"/>
                        </a:lnTo>
                        <a:lnTo>
                          <a:pt x="465" y="480"/>
                        </a:lnTo>
                        <a:lnTo>
                          <a:pt x="466" y="476"/>
                        </a:lnTo>
                        <a:lnTo>
                          <a:pt x="467" y="473"/>
                        </a:lnTo>
                        <a:lnTo>
                          <a:pt x="469" y="470"/>
                        </a:lnTo>
                        <a:lnTo>
                          <a:pt x="471" y="469"/>
                        </a:lnTo>
                        <a:lnTo>
                          <a:pt x="466" y="456"/>
                        </a:lnTo>
                        <a:lnTo>
                          <a:pt x="464" y="444"/>
                        </a:lnTo>
                        <a:lnTo>
                          <a:pt x="463" y="435"/>
                        </a:lnTo>
                        <a:lnTo>
                          <a:pt x="463" y="426"/>
                        </a:lnTo>
                        <a:lnTo>
                          <a:pt x="463" y="409"/>
                        </a:lnTo>
                        <a:lnTo>
                          <a:pt x="464" y="388"/>
                        </a:lnTo>
                        <a:lnTo>
                          <a:pt x="465" y="378"/>
                        </a:lnTo>
                        <a:lnTo>
                          <a:pt x="469" y="368"/>
                        </a:lnTo>
                        <a:lnTo>
                          <a:pt x="474" y="358"/>
                        </a:lnTo>
                        <a:lnTo>
                          <a:pt x="482" y="348"/>
                        </a:lnTo>
                        <a:lnTo>
                          <a:pt x="490" y="338"/>
                        </a:lnTo>
                        <a:lnTo>
                          <a:pt x="500" y="330"/>
                        </a:lnTo>
                        <a:lnTo>
                          <a:pt x="506" y="327"/>
                        </a:lnTo>
                        <a:lnTo>
                          <a:pt x="511" y="324"/>
                        </a:lnTo>
                        <a:lnTo>
                          <a:pt x="518" y="322"/>
                        </a:lnTo>
                        <a:lnTo>
                          <a:pt x="525" y="320"/>
                        </a:lnTo>
                        <a:lnTo>
                          <a:pt x="526" y="298"/>
                        </a:lnTo>
                        <a:lnTo>
                          <a:pt x="528" y="275"/>
                        </a:lnTo>
                        <a:lnTo>
                          <a:pt x="532" y="254"/>
                        </a:lnTo>
                        <a:lnTo>
                          <a:pt x="538" y="232"/>
                        </a:lnTo>
                        <a:lnTo>
                          <a:pt x="542" y="211"/>
                        </a:lnTo>
                        <a:lnTo>
                          <a:pt x="546" y="190"/>
                        </a:lnTo>
                        <a:lnTo>
                          <a:pt x="550" y="168"/>
                        </a:lnTo>
                        <a:lnTo>
                          <a:pt x="551" y="148"/>
                        </a:lnTo>
                        <a:lnTo>
                          <a:pt x="550" y="141"/>
                        </a:lnTo>
                        <a:lnTo>
                          <a:pt x="548" y="135"/>
                        </a:lnTo>
                        <a:lnTo>
                          <a:pt x="544" y="129"/>
                        </a:lnTo>
                        <a:lnTo>
                          <a:pt x="541" y="124"/>
                        </a:lnTo>
                        <a:lnTo>
                          <a:pt x="537" y="117"/>
                        </a:lnTo>
                        <a:lnTo>
                          <a:pt x="533" y="111"/>
                        </a:lnTo>
                        <a:lnTo>
                          <a:pt x="531" y="105"/>
                        </a:lnTo>
                        <a:lnTo>
                          <a:pt x="531" y="99"/>
                        </a:lnTo>
                        <a:lnTo>
                          <a:pt x="531" y="94"/>
                        </a:lnTo>
                        <a:lnTo>
                          <a:pt x="532" y="91"/>
                        </a:lnTo>
                        <a:lnTo>
                          <a:pt x="535" y="88"/>
                        </a:lnTo>
                        <a:lnTo>
                          <a:pt x="539" y="86"/>
                        </a:lnTo>
                        <a:lnTo>
                          <a:pt x="548" y="84"/>
                        </a:lnTo>
                        <a:lnTo>
                          <a:pt x="559" y="83"/>
                        </a:lnTo>
                        <a:lnTo>
                          <a:pt x="587" y="82"/>
                        </a:lnTo>
                        <a:lnTo>
                          <a:pt x="617" y="80"/>
                        </a:lnTo>
                        <a:lnTo>
                          <a:pt x="640" y="74"/>
                        </a:lnTo>
                        <a:lnTo>
                          <a:pt x="662" y="70"/>
                        </a:lnTo>
                        <a:lnTo>
                          <a:pt x="685" y="67"/>
                        </a:lnTo>
                        <a:lnTo>
                          <a:pt x="708" y="63"/>
                        </a:lnTo>
                        <a:lnTo>
                          <a:pt x="731" y="62"/>
                        </a:lnTo>
                        <a:lnTo>
                          <a:pt x="754" y="61"/>
                        </a:lnTo>
                        <a:lnTo>
                          <a:pt x="778" y="61"/>
                        </a:lnTo>
                        <a:lnTo>
                          <a:pt x="803" y="61"/>
                        </a:lnTo>
                        <a:lnTo>
                          <a:pt x="810" y="61"/>
                        </a:lnTo>
                      </a:path>
                    </a:pathLst>
                  </a:custGeom>
                  <a:solidFill>
                    <a:srgbClr val="0671BA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9" name="Freeform 479"/>
                  <p:cNvSpPr>
                    <a:spLocks/>
                  </p:cNvSpPr>
                  <p:nvPr>
                    <p:custDataLst>
                      <p:tags r:id="rId51"/>
                    </p:custDataLst>
                  </p:nvPr>
                </p:nvSpPr>
                <p:spPr bwMode="auto">
                  <a:xfrm>
                    <a:off x="2123728" y="2310056"/>
                    <a:ext cx="557205" cy="300938"/>
                  </a:xfrm>
                  <a:custGeom>
                    <a:avLst/>
                    <a:gdLst>
                      <a:gd name="T0" fmla="*/ 309708 w 365"/>
                      <a:gd name="T1" fmla="*/ 277309 h 271"/>
                      <a:gd name="T2" fmla="*/ 248682 w 365"/>
                      <a:gd name="T3" fmla="*/ 272872 h 271"/>
                      <a:gd name="T4" fmla="*/ 184604 w 365"/>
                      <a:gd name="T5" fmla="*/ 273981 h 271"/>
                      <a:gd name="T6" fmla="*/ 140360 w 365"/>
                      <a:gd name="T7" fmla="*/ 277309 h 271"/>
                      <a:gd name="T8" fmla="*/ 112898 w 365"/>
                      <a:gd name="T9" fmla="*/ 282855 h 271"/>
                      <a:gd name="T10" fmla="*/ 39667 w 365"/>
                      <a:gd name="T11" fmla="*/ 300603 h 271"/>
                      <a:gd name="T12" fmla="*/ 30513 w 365"/>
                      <a:gd name="T13" fmla="*/ 299494 h 271"/>
                      <a:gd name="T14" fmla="*/ 25936 w 365"/>
                      <a:gd name="T15" fmla="*/ 295057 h 271"/>
                      <a:gd name="T16" fmla="*/ 27462 w 365"/>
                      <a:gd name="T17" fmla="*/ 281746 h 271"/>
                      <a:gd name="T18" fmla="*/ 39667 w 365"/>
                      <a:gd name="T19" fmla="*/ 252906 h 271"/>
                      <a:gd name="T20" fmla="*/ 93065 w 365"/>
                      <a:gd name="T21" fmla="*/ 250687 h 271"/>
                      <a:gd name="T22" fmla="*/ 135783 w 365"/>
                      <a:gd name="T23" fmla="*/ 246250 h 271"/>
                      <a:gd name="T24" fmla="*/ 175450 w 365"/>
                      <a:gd name="T25" fmla="*/ 241813 h 271"/>
                      <a:gd name="T26" fmla="*/ 222746 w 365"/>
                      <a:gd name="T27" fmla="*/ 239595 h 271"/>
                      <a:gd name="T28" fmla="*/ 277669 w 365"/>
                      <a:gd name="T29" fmla="*/ 241813 h 271"/>
                      <a:gd name="T30" fmla="*/ 303605 w 365"/>
                      <a:gd name="T31" fmla="*/ 241813 h 271"/>
                      <a:gd name="T32" fmla="*/ 334118 w 365"/>
                      <a:gd name="T33" fmla="*/ 239595 h 271"/>
                      <a:gd name="T34" fmla="*/ 328016 w 365"/>
                      <a:gd name="T35" fmla="*/ 230721 h 271"/>
                      <a:gd name="T36" fmla="*/ 320387 w 365"/>
                      <a:gd name="T37" fmla="*/ 222956 h 271"/>
                      <a:gd name="T38" fmla="*/ 297503 w 365"/>
                      <a:gd name="T39" fmla="*/ 215192 h 271"/>
                      <a:gd name="T40" fmla="*/ 266990 w 365"/>
                      <a:gd name="T41" fmla="*/ 211864 h 271"/>
                      <a:gd name="T42" fmla="*/ 231900 w 365"/>
                      <a:gd name="T43" fmla="*/ 210755 h 271"/>
                      <a:gd name="T44" fmla="*/ 141886 w 365"/>
                      <a:gd name="T45" fmla="*/ 212973 h 271"/>
                      <a:gd name="T46" fmla="*/ 97642 w 365"/>
                      <a:gd name="T47" fmla="*/ 217410 h 271"/>
                      <a:gd name="T48" fmla="*/ 50347 w 365"/>
                      <a:gd name="T49" fmla="*/ 225175 h 271"/>
                      <a:gd name="T50" fmla="*/ 57975 w 365"/>
                      <a:gd name="T51" fmla="*/ 202990 h 271"/>
                      <a:gd name="T52" fmla="*/ 59501 w 365"/>
                      <a:gd name="T53" fmla="*/ 190789 h 271"/>
                      <a:gd name="T54" fmla="*/ 39667 w 365"/>
                      <a:gd name="T55" fmla="*/ 181915 h 271"/>
                      <a:gd name="T56" fmla="*/ 19834 w 365"/>
                      <a:gd name="T57" fmla="*/ 177478 h 271"/>
                      <a:gd name="T58" fmla="*/ 16782 w 365"/>
                      <a:gd name="T59" fmla="*/ 163058 h 271"/>
                      <a:gd name="T60" fmla="*/ 9154 w 365"/>
                      <a:gd name="T61" fmla="*/ 158621 h 271"/>
                      <a:gd name="T62" fmla="*/ 3051 w 365"/>
                      <a:gd name="T63" fmla="*/ 156402 h 271"/>
                      <a:gd name="T64" fmla="*/ 0 w 365"/>
                      <a:gd name="T65" fmla="*/ 149747 h 271"/>
                      <a:gd name="T66" fmla="*/ 7628 w 365"/>
                      <a:gd name="T67" fmla="*/ 127562 h 271"/>
                      <a:gd name="T68" fmla="*/ 25936 w 365"/>
                      <a:gd name="T69" fmla="*/ 102050 h 271"/>
                      <a:gd name="T70" fmla="*/ 45770 w 365"/>
                      <a:gd name="T71" fmla="*/ 76537 h 271"/>
                      <a:gd name="T72" fmla="*/ 59501 w 365"/>
                      <a:gd name="T73" fmla="*/ 54353 h 271"/>
                      <a:gd name="T74" fmla="*/ 73231 w 365"/>
                      <a:gd name="T75" fmla="*/ 46588 h 271"/>
                      <a:gd name="T76" fmla="*/ 74757 w 365"/>
                      <a:gd name="T77" fmla="*/ 53243 h 271"/>
                      <a:gd name="T78" fmla="*/ 79334 w 365"/>
                      <a:gd name="T79" fmla="*/ 39933 h 271"/>
                      <a:gd name="T80" fmla="*/ 114424 w 365"/>
                      <a:gd name="T81" fmla="*/ 34386 h 271"/>
                      <a:gd name="T82" fmla="*/ 173925 w 365"/>
                      <a:gd name="T83" fmla="*/ 19966 h 271"/>
                      <a:gd name="T84" fmla="*/ 251733 w 365"/>
                      <a:gd name="T85" fmla="*/ 0 h 271"/>
                      <a:gd name="T86" fmla="*/ 280720 w 365"/>
                      <a:gd name="T87" fmla="*/ 16639 h 271"/>
                      <a:gd name="T88" fmla="*/ 308182 w 365"/>
                      <a:gd name="T89" fmla="*/ 26622 h 271"/>
                      <a:gd name="T90" fmla="*/ 335644 w 365"/>
                      <a:gd name="T91" fmla="*/ 32168 h 271"/>
                      <a:gd name="T92" fmla="*/ 364631 w 365"/>
                      <a:gd name="T93" fmla="*/ 33277 h 271"/>
                      <a:gd name="T94" fmla="*/ 367683 w 365"/>
                      <a:gd name="T95" fmla="*/ 57680 h 271"/>
                      <a:gd name="T96" fmla="*/ 376837 w 365"/>
                      <a:gd name="T97" fmla="*/ 76537 h 271"/>
                      <a:gd name="T98" fmla="*/ 387516 w 365"/>
                      <a:gd name="T99" fmla="*/ 93176 h 271"/>
                      <a:gd name="T100" fmla="*/ 402773 w 365"/>
                      <a:gd name="T101" fmla="*/ 105377 h 271"/>
                      <a:gd name="T102" fmla="*/ 465325 w 365"/>
                      <a:gd name="T103" fmla="*/ 143091 h 271"/>
                      <a:gd name="T104" fmla="*/ 537030 w 365"/>
                      <a:gd name="T105" fmla="*/ 259561 h 271"/>
                      <a:gd name="T106" fmla="*/ 547710 w 365"/>
                      <a:gd name="T107" fmla="*/ 285074 h 271"/>
                      <a:gd name="T108" fmla="*/ 556864 w 365"/>
                      <a:gd name="T109" fmla="*/ 300603 h 271"/>
                      <a:gd name="T110" fmla="*/ 489735 w 365"/>
                      <a:gd name="T111" fmla="*/ 287292 h 271"/>
                      <a:gd name="T112" fmla="*/ 419555 w 365"/>
                      <a:gd name="T113" fmla="*/ 279527 h 271"/>
                      <a:gd name="T114" fmla="*/ 378362 w 365"/>
                      <a:gd name="T115" fmla="*/ 278418 h 271"/>
                      <a:gd name="T116" fmla="*/ 334118 w 365"/>
                      <a:gd name="T117" fmla="*/ 279527 h 271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365"/>
                      <a:gd name="T178" fmla="*/ 0 h 271"/>
                      <a:gd name="T179" fmla="*/ 365 w 365"/>
                      <a:gd name="T180" fmla="*/ 271 h 271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365" h="271">
                        <a:moveTo>
                          <a:pt x="219" y="252"/>
                        </a:moveTo>
                        <a:lnTo>
                          <a:pt x="203" y="250"/>
                        </a:lnTo>
                        <a:lnTo>
                          <a:pt x="184" y="248"/>
                        </a:lnTo>
                        <a:lnTo>
                          <a:pt x="163" y="246"/>
                        </a:lnTo>
                        <a:lnTo>
                          <a:pt x="142" y="246"/>
                        </a:lnTo>
                        <a:lnTo>
                          <a:pt x="121" y="247"/>
                        </a:lnTo>
                        <a:lnTo>
                          <a:pt x="101" y="249"/>
                        </a:lnTo>
                        <a:lnTo>
                          <a:pt x="92" y="250"/>
                        </a:lnTo>
                        <a:lnTo>
                          <a:pt x="82" y="252"/>
                        </a:lnTo>
                        <a:lnTo>
                          <a:pt x="74" y="255"/>
                        </a:lnTo>
                        <a:lnTo>
                          <a:pt x="65" y="258"/>
                        </a:lnTo>
                        <a:lnTo>
                          <a:pt x="26" y="271"/>
                        </a:lnTo>
                        <a:lnTo>
                          <a:pt x="23" y="271"/>
                        </a:lnTo>
                        <a:lnTo>
                          <a:pt x="20" y="270"/>
                        </a:lnTo>
                        <a:lnTo>
                          <a:pt x="18" y="268"/>
                        </a:lnTo>
                        <a:lnTo>
                          <a:pt x="17" y="266"/>
                        </a:lnTo>
                        <a:lnTo>
                          <a:pt x="17" y="260"/>
                        </a:lnTo>
                        <a:lnTo>
                          <a:pt x="18" y="254"/>
                        </a:lnTo>
                        <a:lnTo>
                          <a:pt x="24" y="240"/>
                        </a:lnTo>
                        <a:lnTo>
                          <a:pt x="26" y="228"/>
                        </a:lnTo>
                        <a:lnTo>
                          <a:pt x="45" y="227"/>
                        </a:lnTo>
                        <a:lnTo>
                          <a:pt x="61" y="226"/>
                        </a:lnTo>
                        <a:lnTo>
                          <a:pt x="75" y="224"/>
                        </a:lnTo>
                        <a:lnTo>
                          <a:pt x="89" y="222"/>
                        </a:lnTo>
                        <a:lnTo>
                          <a:pt x="102" y="220"/>
                        </a:lnTo>
                        <a:lnTo>
                          <a:pt x="115" y="218"/>
                        </a:lnTo>
                        <a:lnTo>
                          <a:pt x="129" y="216"/>
                        </a:lnTo>
                        <a:lnTo>
                          <a:pt x="146" y="216"/>
                        </a:lnTo>
                        <a:lnTo>
                          <a:pt x="164" y="217"/>
                        </a:lnTo>
                        <a:lnTo>
                          <a:pt x="182" y="218"/>
                        </a:lnTo>
                        <a:lnTo>
                          <a:pt x="191" y="218"/>
                        </a:lnTo>
                        <a:lnTo>
                          <a:pt x="199" y="218"/>
                        </a:lnTo>
                        <a:lnTo>
                          <a:pt x="209" y="217"/>
                        </a:lnTo>
                        <a:lnTo>
                          <a:pt x="219" y="216"/>
                        </a:lnTo>
                        <a:lnTo>
                          <a:pt x="217" y="211"/>
                        </a:lnTo>
                        <a:lnTo>
                          <a:pt x="215" y="208"/>
                        </a:lnTo>
                        <a:lnTo>
                          <a:pt x="213" y="203"/>
                        </a:lnTo>
                        <a:lnTo>
                          <a:pt x="210" y="201"/>
                        </a:lnTo>
                        <a:lnTo>
                          <a:pt x="204" y="196"/>
                        </a:lnTo>
                        <a:lnTo>
                          <a:pt x="195" y="194"/>
                        </a:lnTo>
                        <a:lnTo>
                          <a:pt x="186" y="192"/>
                        </a:lnTo>
                        <a:lnTo>
                          <a:pt x="175" y="191"/>
                        </a:lnTo>
                        <a:lnTo>
                          <a:pt x="164" y="191"/>
                        </a:lnTo>
                        <a:lnTo>
                          <a:pt x="152" y="190"/>
                        </a:lnTo>
                        <a:lnTo>
                          <a:pt x="120" y="191"/>
                        </a:lnTo>
                        <a:lnTo>
                          <a:pt x="93" y="192"/>
                        </a:lnTo>
                        <a:lnTo>
                          <a:pt x="79" y="193"/>
                        </a:lnTo>
                        <a:lnTo>
                          <a:pt x="64" y="196"/>
                        </a:lnTo>
                        <a:lnTo>
                          <a:pt x="49" y="199"/>
                        </a:lnTo>
                        <a:lnTo>
                          <a:pt x="33" y="203"/>
                        </a:lnTo>
                        <a:lnTo>
                          <a:pt x="37" y="191"/>
                        </a:lnTo>
                        <a:lnTo>
                          <a:pt x="38" y="183"/>
                        </a:lnTo>
                        <a:lnTo>
                          <a:pt x="39" y="177"/>
                        </a:lnTo>
                        <a:lnTo>
                          <a:pt x="39" y="172"/>
                        </a:lnTo>
                        <a:lnTo>
                          <a:pt x="34" y="168"/>
                        </a:lnTo>
                        <a:lnTo>
                          <a:pt x="26" y="164"/>
                        </a:lnTo>
                        <a:lnTo>
                          <a:pt x="18" y="161"/>
                        </a:lnTo>
                        <a:lnTo>
                          <a:pt x="13" y="160"/>
                        </a:lnTo>
                        <a:lnTo>
                          <a:pt x="13" y="153"/>
                        </a:lnTo>
                        <a:lnTo>
                          <a:pt x="11" y="147"/>
                        </a:lnTo>
                        <a:lnTo>
                          <a:pt x="8" y="144"/>
                        </a:lnTo>
                        <a:lnTo>
                          <a:pt x="6" y="143"/>
                        </a:lnTo>
                        <a:lnTo>
                          <a:pt x="4" y="142"/>
                        </a:lnTo>
                        <a:lnTo>
                          <a:pt x="2" y="141"/>
                        </a:lnTo>
                        <a:lnTo>
                          <a:pt x="0" y="139"/>
                        </a:lnTo>
                        <a:lnTo>
                          <a:pt x="0" y="135"/>
                        </a:lnTo>
                        <a:lnTo>
                          <a:pt x="1" y="125"/>
                        </a:lnTo>
                        <a:lnTo>
                          <a:pt x="5" y="115"/>
                        </a:lnTo>
                        <a:lnTo>
                          <a:pt x="11" y="104"/>
                        </a:lnTo>
                        <a:lnTo>
                          <a:pt x="17" y="92"/>
                        </a:lnTo>
                        <a:lnTo>
                          <a:pt x="24" y="80"/>
                        </a:lnTo>
                        <a:lnTo>
                          <a:pt x="30" y="69"/>
                        </a:lnTo>
                        <a:lnTo>
                          <a:pt x="36" y="59"/>
                        </a:lnTo>
                        <a:lnTo>
                          <a:pt x="39" y="49"/>
                        </a:lnTo>
                        <a:lnTo>
                          <a:pt x="45" y="43"/>
                        </a:lnTo>
                        <a:lnTo>
                          <a:pt x="48" y="42"/>
                        </a:lnTo>
                        <a:lnTo>
                          <a:pt x="49" y="44"/>
                        </a:lnTo>
                        <a:lnTo>
                          <a:pt x="49" y="48"/>
                        </a:lnTo>
                        <a:lnTo>
                          <a:pt x="48" y="51"/>
                        </a:lnTo>
                        <a:lnTo>
                          <a:pt x="52" y="36"/>
                        </a:lnTo>
                        <a:lnTo>
                          <a:pt x="61" y="35"/>
                        </a:lnTo>
                        <a:lnTo>
                          <a:pt x="75" y="31"/>
                        </a:lnTo>
                        <a:lnTo>
                          <a:pt x="94" y="25"/>
                        </a:lnTo>
                        <a:lnTo>
                          <a:pt x="114" y="18"/>
                        </a:lnTo>
                        <a:lnTo>
                          <a:pt x="150" y="6"/>
                        </a:lnTo>
                        <a:lnTo>
                          <a:pt x="165" y="0"/>
                        </a:lnTo>
                        <a:lnTo>
                          <a:pt x="175" y="8"/>
                        </a:lnTo>
                        <a:lnTo>
                          <a:pt x="184" y="15"/>
                        </a:lnTo>
                        <a:lnTo>
                          <a:pt x="194" y="20"/>
                        </a:lnTo>
                        <a:lnTo>
                          <a:pt x="202" y="24"/>
                        </a:lnTo>
                        <a:lnTo>
                          <a:pt x="210" y="27"/>
                        </a:lnTo>
                        <a:lnTo>
                          <a:pt x="220" y="29"/>
                        </a:lnTo>
                        <a:lnTo>
                          <a:pt x="229" y="30"/>
                        </a:lnTo>
                        <a:lnTo>
                          <a:pt x="239" y="30"/>
                        </a:lnTo>
                        <a:lnTo>
                          <a:pt x="239" y="42"/>
                        </a:lnTo>
                        <a:lnTo>
                          <a:pt x="241" y="52"/>
                        </a:lnTo>
                        <a:lnTo>
                          <a:pt x="243" y="61"/>
                        </a:lnTo>
                        <a:lnTo>
                          <a:pt x="247" y="69"/>
                        </a:lnTo>
                        <a:lnTo>
                          <a:pt x="250" y="77"/>
                        </a:lnTo>
                        <a:lnTo>
                          <a:pt x="254" y="84"/>
                        </a:lnTo>
                        <a:lnTo>
                          <a:pt x="259" y="90"/>
                        </a:lnTo>
                        <a:lnTo>
                          <a:pt x="264" y="95"/>
                        </a:lnTo>
                        <a:lnTo>
                          <a:pt x="286" y="115"/>
                        </a:lnTo>
                        <a:lnTo>
                          <a:pt x="305" y="129"/>
                        </a:lnTo>
                        <a:lnTo>
                          <a:pt x="305" y="210"/>
                        </a:lnTo>
                        <a:lnTo>
                          <a:pt x="352" y="234"/>
                        </a:lnTo>
                        <a:lnTo>
                          <a:pt x="353" y="245"/>
                        </a:lnTo>
                        <a:lnTo>
                          <a:pt x="359" y="257"/>
                        </a:lnTo>
                        <a:lnTo>
                          <a:pt x="363" y="267"/>
                        </a:lnTo>
                        <a:lnTo>
                          <a:pt x="365" y="271"/>
                        </a:lnTo>
                        <a:lnTo>
                          <a:pt x="353" y="267"/>
                        </a:lnTo>
                        <a:lnTo>
                          <a:pt x="321" y="259"/>
                        </a:lnTo>
                        <a:lnTo>
                          <a:pt x="300" y="255"/>
                        </a:lnTo>
                        <a:lnTo>
                          <a:pt x="275" y="252"/>
                        </a:lnTo>
                        <a:lnTo>
                          <a:pt x="262" y="251"/>
                        </a:lnTo>
                        <a:lnTo>
                          <a:pt x="248" y="251"/>
                        </a:lnTo>
                        <a:lnTo>
                          <a:pt x="233" y="251"/>
                        </a:lnTo>
                        <a:lnTo>
                          <a:pt x="219" y="252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30821" name="Freeform 480">
                    <a:hlinkClick r:id="rId57" action="ppaction://hlinkpres?slideindex=1&amp;slidetitle=" tooltip="Tanzania"/>
                  </p:cNvPr>
                  <p:cNvSpPr>
                    <a:spLocks/>
                  </p:cNvSpPr>
                  <p:nvPr>
                    <p:custDataLst>
                      <p:tags r:id="rId52"/>
                    </p:custDataLst>
                  </p:nvPr>
                </p:nvSpPr>
                <p:spPr bwMode="auto">
                  <a:xfrm>
                    <a:off x="5892211" y="3637523"/>
                    <a:ext cx="857105" cy="791339"/>
                  </a:xfrm>
                  <a:custGeom>
                    <a:avLst/>
                    <a:gdLst>
                      <a:gd name="T0" fmla="*/ 2147483647 w 624"/>
                      <a:gd name="T1" fmla="*/ 2147483647 h 640"/>
                      <a:gd name="T2" fmla="*/ 2147483647 w 624"/>
                      <a:gd name="T3" fmla="*/ 2147483647 h 640"/>
                      <a:gd name="T4" fmla="*/ 2147483647 w 624"/>
                      <a:gd name="T5" fmla="*/ 2147483647 h 640"/>
                      <a:gd name="T6" fmla="*/ 2147483647 w 624"/>
                      <a:gd name="T7" fmla="*/ 2147483647 h 640"/>
                      <a:gd name="T8" fmla="*/ 2147483647 w 624"/>
                      <a:gd name="T9" fmla="*/ 2147483647 h 640"/>
                      <a:gd name="T10" fmla="*/ 2147483647 w 624"/>
                      <a:gd name="T11" fmla="*/ 2147483647 h 640"/>
                      <a:gd name="T12" fmla="*/ 2147483647 w 624"/>
                      <a:gd name="T13" fmla="*/ 2147483647 h 640"/>
                      <a:gd name="T14" fmla="*/ 2147483647 w 624"/>
                      <a:gd name="T15" fmla="*/ 2147483647 h 640"/>
                      <a:gd name="T16" fmla="*/ 2147483647 w 624"/>
                      <a:gd name="T17" fmla="*/ 2147483647 h 640"/>
                      <a:gd name="T18" fmla="*/ 2147483647 w 624"/>
                      <a:gd name="T19" fmla="*/ 2147483647 h 640"/>
                      <a:gd name="T20" fmla="*/ 2147483647 w 624"/>
                      <a:gd name="T21" fmla="*/ 2147483647 h 640"/>
                      <a:gd name="T22" fmla="*/ 2147483647 w 624"/>
                      <a:gd name="T23" fmla="*/ 2147483647 h 640"/>
                      <a:gd name="T24" fmla="*/ 2147483647 w 624"/>
                      <a:gd name="T25" fmla="*/ 2147483647 h 640"/>
                      <a:gd name="T26" fmla="*/ 2147483647 w 624"/>
                      <a:gd name="T27" fmla="*/ 2147483647 h 640"/>
                      <a:gd name="T28" fmla="*/ 2147483647 w 624"/>
                      <a:gd name="T29" fmla="*/ 2147483647 h 640"/>
                      <a:gd name="T30" fmla="*/ 2147483647 w 624"/>
                      <a:gd name="T31" fmla="*/ 2147483647 h 640"/>
                      <a:gd name="T32" fmla="*/ 2147483647 w 624"/>
                      <a:gd name="T33" fmla="*/ 2147483647 h 640"/>
                      <a:gd name="T34" fmla="*/ 2147483647 w 624"/>
                      <a:gd name="T35" fmla="*/ 2147483647 h 640"/>
                      <a:gd name="T36" fmla="*/ 2147483647 w 624"/>
                      <a:gd name="T37" fmla="*/ 2147483647 h 640"/>
                      <a:gd name="T38" fmla="*/ 2147483647 w 624"/>
                      <a:gd name="T39" fmla="*/ 2147483647 h 640"/>
                      <a:gd name="T40" fmla="*/ 2147483647 w 624"/>
                      <a:gd name="T41" fmla="*/ 2147483647 h 640"/>
                      <a:gd name="T42" fmla="*/ 2147483647 w 624"/>
                      <a:gd name="T43" fmla="*/ 2147483647 h 640"/>
                      <a:gd name="T44" fmla="*/ 2147483647 w 624"/>
                      <a:gd name="T45" fmla="*/ 2147483647 h 640"/>
                      <a:gd name="T46" fmla="*/ 2147483647 w 624"/>
                      <a:gd name="T47" fmla="*/ 2147483647 h 640"/>
                      <a:gd name="T48" fmla="*/ 2147483647 w 624"/>
                      <a:gd name="T49" fmla="*/ 2147483647 h 640"/>
                      <a:gd name="T50" fmla="*/ 2147483647 w 624"/>
                      <a:gd name="T51" fmla="*/ 2147483647 h 640"/>
                      <a:gd name="T52" fmla="*/ 2147483647 w 624"/>
                      <a:gd name="T53" fmla="*/ 2147483647 h 640"/>
                      <a:gd name="T54" fmla="*/ 2147483647 w 624"/>
                      <a:gd name="T55" fmla="*/ 2147483647 h 640"/>
                      <a:gd name="T56" fmla="*/ 2147483647 w 624"/>
                      <a:gd name="T57" fmla="*/ 2147483647 h 640"/>
                      <a:gd name="T58" fmla="*/ 2147483647 w 624"/>
                      <a:gd name="T59" fmla="*/ 2147483647 h 640"/>
                      <a:gd name="T60" fmla="*/ 2147483647 w 624"/>
                      <a:gd name="T61" fmla="*/ 2147483647 h 640"/>
                      <a:gd name="T62" fmla="*/ 2147483647 w 624"/>
                      <a:gd name="T63" fmla="*/ 2147483647 h 640"/>
                      <a:gd name="T64" fmla="*/ 2147483647 w 624"/>
                      <a:gd name="T65" fmla="*/ 2147483647 h 640"/>
                      <a:gd name="T66" fmla="*/ 2147483647 w 624"/>
                      <a:gd name="T67" fmla="*/ 2147483647 h 640"/>
                      <a:gd name="T68" fmla="*/ 2147483647 w 624"/>
                      <a:gd name="T69" fmla="*/ 2147483647 h 640"/>
                      <a:gd name="T70" fmla="*/ 2147483647 w 624"/>
                      <a:gd name="T71" fmla="*/ 2147483647 h 640"/>
                      <a:gd name="T72" fmla="*/ 2147483647 w 624"/>
                      <a:gd name="T73" fmla="*/ 2147483647 h 640"/>
                      <a:gd name="T74" fmla="*/ 2147483647 w 624"/>
                      <a:gd name="T75" fmla="*/ 2147483647 h 640"/>
                      <a:gd name="T76" fmla="*/ 2147483647 w 624"/>
                      <a:gd name="T77" fmla="*/ 2147483647 h 640"/>
                      <a:gd name="T78" fmla="*/ 2147483647 w 624"/>
                      <a:gd name="T79" fmla="*/ 2147483647 h 640"/>
                      <a:gd name="T80" fmla="*/ 2147483647 w 624"/>
                      <a:gd name="T81" fmla="*/ 2147483647 h 640"/>
                      <a:gd name="T82" fmla="*/ 2147483647 w 624"/>
                      <a:gd name="T83" fmla="*/ 2147483647 h 640"/>
                      <a:gd name="T84" fmla="*/ 2147483647 w 624"/>
                      <a:gd name="T85" fmla="*/ 2147483647 h 640"/>
                      <a:gd name="T86" fmla="*/ 2147483647 w 624"/>
                      <a:gd name="T87" fmla="*/ 2147483647 h 640"/>
                      <a:gd name="T88" fmla="*/ 2147483647 w 624"/>
                      <a:gd name="T89" fmla="*/ 2147483647 h 640"/>
                      <a:gd name="T90" fmla="*/ 0 w 624"/>
                      <a:gd name="T91" fmla="*/ 2147483647 h 640"/>
                      <a:gd name="T92" fmla="*/ 0 w 624"/>
                      <a:gd name="T93" fmla="*/ 2147483647 h 640"/>
                      <a:gd name="T94" fmla="*/ 2147483647 w 624"/>
                      <a:gd name="T95" fmla="*/ 2147483647 h 640"/>
                      <a:gd name="T96" fmla="*/ 2147483647 w 624"/>
                      <a:gd name="T97" fmla="*/ 2147483647 h 640"/>
                      <a:gd name="T98" fmla="*/ 2147483647 w 624"/>
                      <a:gd name="T99" fmla="*/ 2147483647 h 640"/>
                      <a:gd name="T100" fmla="*/ 2147483647 w 624"/>
                      <a:gd name="T101" fmla="*/ 2147483647 h 640"/>
                      <a:gd name="T102" fmla="*/ 2147483647 w 624"/>
                      <a:gd name="T103" fmla="*/ 2147483647 h 640"/>
                      <a:gd name="T104" fmla="*/ 2147483647 w 624"/>
                      <a:gd name="T105" fmla="*/ 2147483647 h 640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624"/>
                      <a:gd name="T160" fmla="*/ 0 h 640"/>
                      <a:gd name="T161" fmla="*/ 624 w 624"/>
                      <a:gd name="T162" fmla="*/ 640 h 640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624" h="640">
                        <a:moveTo>
                          <a:pt x="79" y="0"/>
                        </a:moveTo>
                        <a:lnTo>
                          <a:pt x="146" y="0"/>
                        </a:lnTo>
                        <a:lnTo>
                          <a:pt x="146" y="12"/>
                        </a:lnTo>
                        <a:lnTo>
                          <a:pt x="173" y="43"/>
                        </a:lnTo>
                        <a:lnTo>
                          <a:pt x="232" y="43"/>
                        </a:lnTo>
                        <a:lnTo>
                          <a:pt x="239" y="12"/>
                        </a:lnTo>
                        <a:lnTo>
                          <a:pt x="259" y="0"/>
                        </a:lnTo>
                        <a:lnTo>
                          <a:pt x="273" y="0"/>
                        </a:lnTo>
                        <a:lnTo>
                          <a:pt x="287" y="5"/>
                        </a:lnTo>
                        <a:lnTo>
                          <a:pt x="301" y="10"/>
                        </a:lnTo>
                        <a:lnTo>
                          <a:pt x="314" y="16"/>
                        </a:lnTo>
                        <a:lnTo>
                          <a:pt x="326" y="22"/>
                        </a:lnTo>
                        <a:lnTo>
                          <a:pt x="351" y="36"/>
                        </a:lnTo>
                        <a:lnTo>
                          <a:pt x="374" y="51"/>
                        </a:lnTo>
                        <a:lnTo>
                          <a:pt x="396" y="66"/>
                        </a:lnTo>
                        <a:lnTo>
                          <a:pt x="418" y="81"/>
                        </a:lnTo>
                        <a:lnTo>
                          <a:pt x="441" y="97"/>
                        </a:lnTo>
                        <a:lnTo>
                          <a:pt x="465" y="111"/>
                        </a:lnTo>
                        <a:lnTo>
                          <a:pt x="465" y="118"/>
                        </a:lnTo>
                        <a:lnTo>
                          <a:pt x="467" y="124"/>
                        </a:lnTo>
                        <a:lnTo>
                          <a:pt x="469" y="131"/>
                        </a:lnTo>
                        <a:lnTo>
                          <a:pt x="471" y="138"/>
                        </a:lnTo>
                        <a:lnTo>
                          <a:pt x="476" y="146"/>
                        </a:lnTo>
                        <a:lnTo>
                          <a:pt x="480" y="153"/>
                        </a:lnTo>
                        <a:lnTo>
                          <a:pt x="485" y="159"/>
                        </a:lnTo>
                        <a:lnTo>
                          <a:pt x="491" y="165"/>
                        </a:lnTo>
                        <a:lnTo>
                          <a:pt x="497" y="170"/>
                        </a:lnTo>
                        <a:lnTo>
                          <a:pt x="503" y="175"/>
                        </a:lnTo>
                        <a:lnTo>
                          <a:pt x="511" y="179"/>
                        </a:lnTo>
                        <a:lnTo>
                          <a:pt x="519" y="183"/>
                        </a:lnTo>
                        <a:lnTo>
                          <a:pt x="526" y="186"/>
                        </a:lnTo>
                        <a:lnTo>
                          <a:pt x="534" y="188"/>
                        </a:lnTo>
                        <a:lnTo>
                          <a:pt x="543" y="190"/>
                        </a:lnTo>
                        <a:lnTo>
                          <a:pt x="552" y="190"/>
                        </a:lnTo>
                        <a:lnTo>
                          <a:pt x="552" y="193"/>
                        </a:lnTo>
                        <a:lnTo>
                          <a:pt x="554" y="195"/>
                        </a:lnTo>
                        <a:lnTo>
                          <a:pt x="556" y="198"/>
                        </a:lnTo>
                        <a:lnTo>
                          <a:pt x="559" y="200"/>
                        </a:lnTo>
                        <a:lnTo>
                          <a:pt x="565" y="205"/>
                        </a:lnTo>
                        <a:lnTo>
                          <a:pt x="571" y="209"/>
                        </a:lnTo>
                        <a:lnTo>
                          <a:pt x="567" y="219"/>
                        </a:lnTo>
                        <a:lnTo>
                          <a:pt x="561" y="227"/>
                        </a:lnTo>
                        <a:lnTo>
                          <a:pt x="554" y="236"/>
                        </a:lnTo>
                        <a:lnTo>
                          <a:pt x="545" y="244"/>
                        </a:lnTo>
                        <a:lnTo>
                          <a:pt x="537" y="252"/>
                        </a:lnTo>
                        <a:lnTo>
                          <a:pt x="531" y="260"/>
                        </a:lnTo>
                        <a:lnTo>
                          <a:pt x="526" y="266"/>
                        </a:lnTo>
                        <a:lnTo>
                          <a:pt x="525" y="271"/>
                        </a:lnTo>
                        <a:lnTo>
                          <a:pt x="526" y="277"/>
                        </a:lnTo>
                        <a:lnTo>
                          <a:pt x="528" y="283"/>
                        </a:lnTo>
                        <a:lnTo>
                          <a:pt x="533" y="287"/>
                        </a:lnTo>
                        <a:lnTo>
                          <a:pt x="538" y="291"/>
                        </a:lnTo>
                        <a:lnTo>
                          <a:pt x="543" y="295"/>
                        </a:lnTo>
                        <a:lnTo>
                          <a:pt x="547" y="299"/>
                        </a:lnTo>
                        <a:lnTo>
                          <a:pt x="550" y="303"/>
                        </a:lnTo>
                        <a:lnTo>
                          <a:pt x="552" y="307"/>
                        </a:lnTo>
                        <a:lnTo>
                          <a:pt x="552" y="425"/>
                        </a:lnTo>
                        <a:lnTo>
                          <a:pt x="549" y="430"/>
                        </a:lnTo>
                        <a:lnTo>
                          <a:pt x="549" y="434"/>
                        </a:lnTo>
                        <a:lnTo>
                          <a:pt x="550" y="439"/>
                        </a:lnTo>
                        <a:lnTo>
                          <a:pt x="552" y="443"/>
                        </a:lnTo>
                        <a:lnTo>
                          <a:pt x="556" y="452"/>
                        </a:lnTo>
                        <a:lnTo>
                          <a:pt x="558" y="462"/>
                        </a:lnTo>
                        <a:lnTo>
                          <a:pt x="558" y="475"/>
                        </a:lnTo>
                        <a:lnTo>
                          <a:pt x="558" y="483"/>
                        </a:lnTo>
                        <a:lnTo>
                          <a:pt x="558" y="489"/>
                        </a:lnTo>
                        <a:lnTo>
                          <a:pt x="558" y="499"/>
                        </a:lnTo>
                        <a:lnTo>
                          <a:pt x="559" y="507"/>
                        </a:lnTo>
                        <a:lnTo>
                          <a:pt x="561" y="515"/>
                        </a:lnTo>
                        <a:lnTo>
                          <a:pt x="567" y="523"/>
                        </a:lnTo>
                        <a:lnTo>
                          <a:pt x="574" y="532"/>
                        </a:lnTo>
                        <a:lnTo>
                          <a:pt x="594" y="549"/>
                        </a:lnTo>
                        <a:lnTo>
                          <a:pt x="624" y="572"/>
                        </a:lnTo>
                        <a:lnTo>
                          <a:pt x="622" y="575"/>
                        </a:lnTo>
                        <a:lnTo>
                          <a:pt x="616" y="579"/>
                        </a:lnTo>
                        <a:lnTo>
                          <a:pt x="609" y="583"/>
                        </a:lnTo>
                        <a:lnTo>
                          <a:pt x="599" y="589"/>
                        </a:lnTo>
                        <a:lnTo>
                          <a:pt x="575" y="600"/>
                        </a:lnTo>
                        <a:lnTo>
                          <a:pt x="546" y="611"/>
                        </a:lnTo>
                        <a:lnTo>
                          <a:pt x="518" y="622"/>
                        </a:lnTo>
                        <a:lnTo>
                          <a:pt x="491" y="631"/>
                        </a:lnTo>
                        <a:lnTo>
                          <a:pt x="470" y="638"/>
                        </a:lnTo>
                        <a:lnTo>
                          <a:pt x="458" y="640"/>
                        </a:lnTo>
                        <a:lnTo>
                          <a:pt x="443" y="638"/>
                        </a:lnTo>
                        <a:lnTo>
                          <a:pt x="423" y="634"/>
                        </a:lnTo>
                        <a:lnTo>
                          <a:pt x="403" y="630"/>
                        </a:lnTo>
                        <a:lnTo>
                          <a:pt x="392" y="628"/>
                        </a:lnTo>
                        <a:lnTo>
                          <a:pt x="369" y="630"/>
                        </a:lnTo>
                        <a:lnTo>
                          <a:pt x="348" y="632"/>
                        </a:lnTo>
                        <a:lnTo>
                          <a:pt x="339" y="633"/>
                        </a:lnTo>
                        <a:lnTo>
                          <a:pt x="329" y="633"/>
                        </a:lnTo>
                        <a:lnTo>
                          <a:pt x="318" y="631"/>
                        </a:lnTo>
                        <a:lnTo>
                          <a:pt x="306" y="628"/>
                        </a:lnTo>
                        <a:lnTo>
                          <a:pt x="303" y="625"/>
                        </a:lnTo>
                        <a:lnTo>
                          <a:pt x="301" y="620"/>
                        </a:lnTo>
                        <a:lnTo>
                          <a:pt x="299" y="614"/>
                        </a:lnTo>
                        <a:lnTo>
                          <a:pt x="298" y="608"/>
                        </a:lnTo>
                        <a:lnTo>
                          <a:pt x="295" y="592"/>
                        </a:lnTo>
                        <a:lnTo>
                          <a:pt x="294" y="573"/>
                        </a:lnTo>
                        <a:lnTo>
                          <a:pt x="291" y="556"/>
                        </a:lnTo>
                        <a:lnTo>
                          <a:pt x="289" y="541"/>
                        </a:lnTo>
                        <a:lnTo>
                          <a:pt x="288" y="529"/>
                        </a:lnTo>
                        <a:lnTo>
                          <a:pt x="286" y="523"/>
                        </a:lnTo>
                        <a:lnTo>
                          <a:pt x="270" y="519"/>
                        </a:lnTo>
                        <a:lnTo>
                          <a:pt x="253" y="517"/>
                        </a:lnTo>
                        <a:lnTo>
                          <a:pt x="232" y="515"/>
                        </a:lnTo>
                        <a:lnTo>
                          <a:pt x="206" y="511"/>
                        </a:lnTo>
                        <a:lnTo>
                          <a:pt x="185" y="502"/>
                        </a:lnTo>
                        <a:lnTo>
                          <a:pt x="139" y="482"/>
                        </a:lnTo>
                        <a:lnTo>
                          <a:pt x="113" y="470"/>
                        </a:lnTo>
                        <a:lnTo>
                          <a:pt x="90" y="459"/>
                        </a:lnTo>
                        <a:lnTo>
                          <a:pt x="82" y="454"/>
                        </a:lnTo>
                        <a:lnTo>
                          <a:pt x="74" y="450"/>
                        </a:lnTo>
                        <a:lnTo>
                          <a:pt x="68" y="446"/>
                        </a:lnTo>
                        <a:lnTo>
                          <a:pt x="66" y="443"/>
                        </a:lnTo>
                        <a:lnTo>
                          <a:pt x="66" y="437"/>
                        </a:lnTo>
                        <a:lnTo>
                          <a:pt x="66" y="428"/>
                        </a:lnTo>
                        <a:lnTo>
                          <a:pt x="66" y="419"/>
                        </a:lnTo>
                        <a:lnTo>
                          <a:pt x="66" y="412"/>
                        </a:lnTo>
                        <a:lnTo>
                          <a:pt x="65" y="402"/>
                        </a:lnTo>
                        <a:lnTo>
                          <a:pt x="62" y="392"/>
                        </a:lnTo>
                        <a:lnTo>
                          <a:pt x="57" y="384"/>
                        </a:lnTo>
                        <a:lnTo>
                          <a:pt x="53" y="377"/>
                        </a:lnTo>
                        <a:lnTo>
                          <a:pt x="48" y="371"/>
                        </a:lnTo>
                        <a:lnTo>
                          <a:pt x="44" y="363"/>
                        </a:lnTo>
                        <a:lnTo>
                          <a:pt x="41" y="357"/>
                        </a:lnTo>
                        <a:lnTo>
                          <a:pt x="40" y="351"/>
                        </a:lnTo>
                        <a:lnTo>
                          <a:pt x="32" y="350"/>
                        </a:lnTo>
                        <a:lnTo>
                          <a:pt x="27" y="347"/>
                        </a:lnTo>
                        <a:lnTo>
                          <a:pt x="21" y="343"/>
                        </a:lnTo>
                        <a:lnTo>
                          <a:pt x="17" y="338"/>
                        </a:lnTo>
                        <a:lnTo>
                          <a:pt x="12" y="332"/>
                        </a:lnTo>
                        <a:lnTo>
                          <a:pt x="9" y="325"/>
                        </a:lnTo>
                        <a:lnTo>
                          <a:pt x="7" y="317"/>
                        </a:lnTo>
                        <a:lnTo>
                          <a:pt x="5" y="308"/>
                        </a:lnTo>
                        <a:lnTo>
                          <a:pt x="1" y="291"/>
                        </a:lnTo>
                        <a:lnTo>
                          <a:pt x="0" y="276"/>
                        </a:lnTo>
                        <a:lnTo>
                          <a:pt x="0" y="262"/>
                        </a:lnTo>
                        <a:lnTo>
                          <a:pt x="0" y="252"/>
                        </a:lnTo>
                        <a:lnTo>
                          <a:pt x="0" y="243"/>
                        </a:lnTo>
                        <a:lnTo>
                          <a:pt x="0" y="234"/>
                        </a:lnTo>
                        <a:lnTo>
                          <a:pt x="0" y="225"/>
                        </a:lnTo>
                        <a:lnTo>
                          <a:pt x="0" y="215"/>
                        </a:lnTo>
                        <a:lnTo>
                          <a:pt x="10" y="212"/>
                        </a:lnTo>
                        <a:lnTo>
                          <a:pt x="20" y="208"/>
                        </a:lnTo>
                        <a:lnTo>
                          <a:pt x="29" y="202"/>
                        </a:lnTo>
                        <a:lnTo>
                          <a:pt x="38" y="195"/>
                        </a:lnTo>
                        <a:lnTo>
                          <a:pt x="46" y="188"/>
                        </a:lnTo>
                        <a:lnTo>
                          <a:pt x="54" y="180"/>
                        </a:lnTo>
                        <a:lnTo>
                          <a:pt x="61" y="173"/>
                        </a:lnTo>
                        <a:lnTo>
                          <a:pt x="66" y="166"/>
                        </a:lnTo>
                        <a:lnTo>
                          <a:pt x="73" y="85"/>
                        </a:lnTo>
                        <a:lnTo>
                          <a:pt x="77" y="77"/>
                        </a:lnTo>
                        <a:lnTo>
                          <a:pt x="81" y="67"/>
                        </a:lnTo>
                        <a:lnTo>
                          <a:pt x="83" y="55"/>
                        </a:lnTo>
                        <a:lnTo>
                          <a:pt x="84" y="43"/>
                        </a:lnTo>
                        <a:lnTo>
                          <a:pt x="84" y="30"/>
                        </a:lnTo>
                        <a:lnTo>
                          <a:pt x="83" y="18"/>
                        </a:lnTo>
                        <a:lnTo>
                          <a:pt x="82" y="8"/>
                        </a:lnTo>
                        <a:lnTo>
                          <a:pt x="79" y="0"/>
                        </a:lnTo>
                      </a:path>
                    </a:pathLst>
                  </a:custGeom>
                  <a:solidFill>
                    <a:srgbClr val="0070C0"/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 545"/>
                  <p:cNvSpPr>
                    <a:spLocks/>
                  </p:cNvSpPr>
                  <p:nvPr>
                    <p:custDataLst>
                      <p:tags r:id="rId53"/>
                    </p:custDataLst>
                  </p:nvPr>
                </p:nvSpPr>
                <p:spPr bwMode="auto">
                  <a:xfrm>
                    <a:off x="3581465" y="1796023"/>
                    <a:ext cx="1196957" cy="912572"/>
                  </a:xfrm>
                  <a:custGeom>
                    <a:avLst/>
                    <a:gdLst>
                      <a:gd name="T0" fmla="*/ 318734 w 866"/>
                      <a:gd name="T1" fmla="*/ 332520 h 740"/>
                      <a:gd name="T2" fmla="*/ 338051 w 866"/>
                      <a:gd name="T3" fmla="*/ 325130 h 740"/>
                      <a:gd name="T4" fmla="*/ 375305 w 866"/>
                      <a:gd name="T5" fmla="*/ 334983 h 740"/>
                      <a:gd name="T6" fmla="*/ 902389 w 866"/>
                      <a:gd name="T7" fmla="*/ 1232 h 740"/>
                      <a:gd name="T8" fmla="*/ 936884 w 866"/>
                      <a:gd name="T9" fmla="*/ 7389 h 740"/>
                      <a:gd name="T10" fmla="*/ 981037 w 866"/>
                      <a:gd name="T11" fmla="*/ 25863 h 740"/>
                      <a:gd name="T12" fmla="*/ 1007253 w 866"/>
                      <a:gd name="T13" fmla="*/ 43104 h 740"/>
                      <a:gd name="T14" fmla="*/ 1048647 w 866"/>
                      <a:gd name="T15" fmla="*/ 70199 h 740"/>
                      <a:gd name="T16" fmla="*/ 1091421 w 866"/>
                      <a:gd name="T17" fmla="*/ 72662 h 740"/>
                      <a:gd name="T18" fmla="*/ 1146613 w 866"/>
                      <a:gd name="T19" fmla="*/ 52957 h 740"/>
                      <a:gd name="T20" fmla="*/ 1178348 w 866"/>
                      <a:gd name="T21" fmla="*/ 204438 h 740"/>
                      <a:gd name="T22" fmla="*/ 1194906 w 866"/>
                      <a:gd name="T23" fmla="*/ 252469 h 740"/>
                      <a:gd name="T24" fmla="*/ 1172829 w 866"/>
                      <a:gd name="T25" fmla="*/ 370698 h 740"/>
                      <a:gd name="T26" fmla="*/ 1170070 w 866"/>
                      <a:gd name="T27" fmla="*/ 463064 h 740"/>
                      <a:gd name="T28" fmla="*/ 1150752 w 866"/>
                      <a:gd name="T29" fmla="*/ 518484 h 740"/>
                      <a:gd name="T30" fmla="*/ 1106599 w 866"/>
                      <a:gd name="T31" fmla="*/ 575136 h 740"/>
                      <a:gd name="T32" fmla="*/ 1072104 w 866"/>
                      <a:gd name="T33" fmla="*/ 614545 h 740"/>
                      <a:gd name="T34" fmla="*/ 1045888 w 866"/>
                      <a:gd name="T35" fmla="*/ 698291 h 740"/>
                      <a:gd name="T36" fmla="*/ 981037 w 866"/>
                      <a:gd name="T37" fmla="*/ 774648 h 740"/>
                      <a:gd name="T38" fmla="*/ 938263 w 866"/>
                      <a:gd name="T39" fmla="*/ 795584 h 740"/>
                      <a:gd name="T40" fmla="*/ 888591 w 866"/>
                      <a:gd name="T41" fmla="*/ 785732 h 740"/>
                      <a:gd name="T42" fmla="*/ 843057 w 866"/>
                      <a:gd name="T43" fmla="*/ 769721 h 740"/>
                      <a:gd name="T44" fmla="*/ 780966 w 866"/>
                      <a:gd name="T45" fmla="*/ 779574 h 740"/>
                      <a:gd name="T46" fmla="*/ 731294 w 866"/>
                      <a:gd name="T47" fmla="*/ 811594 h 740"/>
                      <a:gd name="T48" fmla="*/ 705077 w 866"/>
                      <a:gd name="T49" fmla="*/ 837457 h 740"/>
                      <a:gd name="T50" fmla="*/ 677481 w 866"/>
                      <a:gd name="T51" fmla="*/ 842383 h 740"/>
                      <a:gd name="T52" fmla="*/ 648506 w 866"/>
                      <a:gd name="T53" fmla="*/ 822678 h 740"/>
                      <a:gd name="T54" fmla="*/ 615390 w 866"/>
                      <a:gd name="T55" fmla="*/ 786963 h 740"/>
                      <a:gd name="T56" fmla="*/ 580895 w 866"/>
                      <a:gd name="T57" fmla="*/ 782037 h 740"/>
                      <a:gd name="T58" fmla="*/ 558819 w 866"/>
                      <a:gd name="T59" fmla="*/ 796816 h 740"/>
                      <a:gd name="T60" fmla="*/ 529843 w 866"/>
                      <a:gd name="T61" fmla="*/ 802973 h 740"/>
                      <a:gd name="T62" fmla="*/ 482930 w 866"/>
                      <a:gd name="T63" fmla="*/ 785732 h 740"/>
                      <a:gd name="T64" fmla="*/ 422219 w 866"/>
                      <a:gd name="T65" fmla="*/ 748785 h 740"/>
                      <a:gd name="T66" fmla="*/ 373926 w 866"/>
                      <a:gd name="T67" fmla="*/ 743859 h 740"/>
                      <a:gd name="T68" fmla="*/ 327012 w 866"/>
                      <a:gd name="T69" fmla="*/ 763564 h 740"/>
                      <a:gd name="T70" fmla="*/ 288378 w 866"/>
                      <a:gd name="T71" fmla="*/ 804205 h 740"/>
                      <a:gd name="T72" fmla="*/ 262162 w 866"/>
                      <a:gd name="T73" fmla="*/ 852235 h 740"/>
                      <a:gd name="T74" fmla="*/ 245604 w 866"/>
                      <a:gd name="T75" fmla="*/ 885487 h 740"/>
                      <a:gd name="T76" fmla="*/ 205590 w 866"/>
                      <a:gd name="T77" fmla="*/ 864551 h 740"/>
                      <a:gd name="T78" fmla="*/ 137980 w 866"/>
                      <a:gd name="T79" fmla="*/ 911350 h 740"/>
                      <a:gd name="T80" fmla="*/ 91067 w 866"/>
                      <a:gd name="T81" fmla="*/ 860856 h 740"/>
                      <a:gd name="T82" fmla="*/ 88307 w 866"/>
                      <a:gd name="T83" fmla="*/ 793121 h 740"/>
                      <a:gd name="T84" fmla="*/ 68990 w 866"/>
                      <a:gd name="T85" fmla="*/ 754943 h 740"/>
                      <a:gd name="T86" fmla="*/ 27596 w 866"/>
                      <a:gd name="T87" fmla="*/ 722922 h 740"/>
                      <a:gd name="T88" fmla="*/ 6899 w 866"/>
                      <a:gd name="T89" fmla="*/ 687207 h 740"/>
                      <a:gd name="T90" fmla="*/ 73129 w 866"/>
                      <a:gd name="T91" fmla="*/ 652724 h 740"/>
                      <a:gd name="T92" fmla="*/ 104865 w 866"/>
                      <a:gd name="T93" fmla="*/ 637945 h 740"/>
                      <a:gd name="T94" fmla="*/ 191792 w 866"/>
                      <a:gd name="T95" fmla="*/ 628093 h 740"/>
                      <a:gd name="T96" fmla="*/ 251123 w 866"/>
                      <a:gd name="T97" fmla="*/ 615777 h 740"/>
                      <a:gd name="T98" fmla="*/ 277340 w 866"/>
                      <a:gd name="T99" fmla="*/ 584988 h 740"/>
                      <a:gd name="T100" fmla="*/ 302176 w 866"/>
                      <a:gd name="T101" fmla="*/ 522179 h 740"/>
                      <a:gd name="T102" fmla="*/ 309075 w 866"/>
                      <a:gd name="T103" fmla="*/ 451980 h 740"/>
                      <a:gd name="T104" fmla="*/ 302176 w 866"/>
                      <a:gd name="T105" fmla="*/ 394097 h 740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866"/>
                      <a:gd name="T160" fmla="*/ 0 h 740"/>
                      <a:gd name="T161" fmla="*/ 866 w 866"/>
                      <a:gd name="T162" fmla="*/ 740 h 740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866" h="740">
                        <a:moveTo>
                          <a:pt x="219" y="283"/>
                        </a:moveTo>
                        <a:lnTo>
                          <a:pt x="223" y="278"/>
                        </a:lnTo>
                        <a:lnTo>
                          <a:pt x="227" y="273"/>
                        </a:lnTo>
                        <a:lnTo>
                          <a:pt x="231" y="270"/>
                        </a:lnTo>
                        <a:lnTo>
                          <a:pt x="234" y="267"/>
                        </a:lnTo>
                        <a:lnTo>
                          <a:pt x="238" y="266"/>
                        </a:lnTo>
                        <a:lnTo>
                          <a:pt x="242" y="264"/>
                        </a:lnTo>
                        <a:lnTo>
                          <a:pt x="245" y="264"/>
                        </a:lnTo>
                        <a:lnTo>
                          <a:pt x="250" y="264"/>
                        </a:lnTo>
                        <a:lnTo>
                          <a:pt x="256" y="265"/>
                        </a:lnTo>
                        <a:lnTo>
                          <a:pt x="264" y="268"/>
                        </a:lnTo>
                        <a:lnTo>
                          <a:pt x="272" y="272"/>
                        </a:lnTo>
                        <a:lnTo>
                          <a:pt x="279" y="277"/>
                        </a:lnTo>
                        <a:lnTo>
                          <a:pt x="645" y="6"/>
                        </a:lnTo>
                        <a:lnTo>
                          <a:pt x="649" y="3"/>
                        </a:lnTo>
                        <a:lnTo>
                          <a:pt x="654" y="1"/>
                        </a:lnTo>
                        <a:lnTo>
                          <a:pt x="658" y="0"/>
                        </a:lnTo>
                        <a:lnTo>
                          <a:pt x="663" y="0"/>
                        </a:lnTo>
                        <a:lnTo>
                          <a:pt x="671" y="2"/>
                        </a:lnTo>
                        <a:lnTo>
                          <a:pt x="679" y="6"/>
                        </a:lnTo>
                        <a:lnTo>
                          <a:pt x="689" y="11"/>
                        </a:lnTo>
                        <a:lnTo>
                          <a:pt x="699" y="17"/>
                        </a:lnTo>
                        <a:lnTo>
                          <a:pt x="704" y="19"/>
                        </a:lnTo>
                        <a:lnTo>
                          <a:pt x="711" y="21"/>
                        </a:lnTo>
                        <a:lnTo>
                          <a:pt x="717" y="23"/>
                        </a:lnTo>
                        <a:lnTo>
                          <a:pt x="724" y="25"/>
                        </a:lnTo>
                        <a:lnTo>
                          <a:pt x="726" y="30"/>
                        </a:lnTo>
                        <a:lnTo>
                          <a:pt x="730" y="35"/>
                        </a:lnTo>
                        <a:lnTo>
                          <a:pt x="736" y="42"/>
                        </a:lnTo>
                        <a:lnTo>
                          <a:pt x="744" y="47"/>
                        </a:lnTo>
                        <a:lnTo>
                          <a:pt x="752" y="53"/>
                        </a:lnTo>
                        <a:lnTo>
                          <a:pt x="760" y="57"/>
                        </a:lnTo>
                        <a:lnTo>
                          <a:pt x="769" y="60"/>
                        </a:lnTo>
                        <a:lnTo>
                          <a:pt x="778" y="61"/>
                        </a:lnTo>
                        <a:lnTo>
                          <a:pt x="784" y="60"/>
                        </a:lnTo>
                        <a:lnTo>
                          <a:pt x="791" y="59"/>
                        </a:lnTo>
                        <a:lnTo>
                          <a:pt x="798" y="57"/>
                        </a:lnTo>
                        <a:lnTo>
                          <a:pt x="804" y="54"/>
                        </a:lnTo>
                        <a:lnTo>
                          <a:pt x="816" y="48"/>
                        </a:lnTo>
                        <a:lnTo>
                          <a:pt x="831" y="43"/>
                        </a:lnTo>
                        <a:lnTo>
                          <a:pt x="824" y="122"/>
                        </a:lnTo>
                        <a:lnTo>
                          <a:pt x="836" y="140"/>
                        </a:lnTo>
                        <a:lnTo>
                          <a:pt x="846" y="154"/>
                        </a:lnTo>
                        <a:lnTo>
                          <a:pt x="854" y="166"/>
                        </a:lnTo>
                        <a:lnTo>
                          <a:pt x="859" y="177"/>
                        </a:lnTo>
                        <a:lnTo>
                          <a:pt x="862" y="188"/>
                        </a:lnTo>
                        <a:lnTo>
                          <a:pt x="865" y="197"/>
                        </a:lnTo>
                        <a:lnTo>
                          <a:pt x="866" y="205"/>
                        </a:lnTo>
                        <a:lnTo>
                          <a:pt x="865" y="211"/>
                        </a:lnTo>
                        <a:lnTo>
                          <a:pt x="857" y="234"/>
                        </a:lnTo>
                        <a:lnTo>
                          <a:pt x="850" y="259"/>
                        </a:lnTo>
                        <a:lnTo>
                          <a:pt x="850" y="301"/>
                        </a:lnTo>
                        <a:lnTo>
                          <a:pt x="850" y="334"/>
                        </a:lnTo>
                        <a:lnTo>
                          <a:pt x="850" y="350"/>
                        </a:lnTo>
                        <a:lnTo>
                          <a:pt x="849" y="364"/>
                        </a:lnTo>
                        <a:lnTo>
                          <a:pt x="848" y="376"/>
                        </a:lnTo>
                        <a:lnTo>
                          <a:pt x="846" y="388"/>
                        </a:lnTo>
                        <a:lnTo>
                          <a:pt x="843" y="399"/>
                        </a:lnTo>
                        <a:lnTo>
                          <a:pt x="839" y="411"/>
                        </a:lnTo>
                        <a:lnTo>
                          <a:pt x="834" y="421"/>
                        </a:lnTo>
                        <a:lnTo>
                          <a:pt x="828" y="432"/>
                        </a:lnTo>
                        <a:lnTo>
                          <a:pt x="821" y="443"/>
                        </a:lnTo>
                        <a:lnTo>
                          <a:pt x="813" y="454"/>
                        </a:lnTo>
                        <a:lnTo>
                          <a:pt x="802" y="467"/>
                        </a:lnTo>
                        <a:lnTo>
                          <a:pt x="791" y="480"/>
                        </a:lnTo>
                        <a:lnTo>
                          <a:pt x="786" y="486"/>
                        </a:lnTo>
                        <a:lnTo>
                          <a:pt x="781" y="493"/>
                        </a:lnTo>
                        <a:lnTo>
                          <a:pt x="777" y="499"/>
                        </a:lnTo>
                        <a:lnTo>
                          <a:pt x="773" y="506"/>
                        </a:lnTo>
                        <a:lnTo>
                          <a:pt x="768" y="522"/>
                        </a:lnTo>
                        <a:lnTo>
                          <a:pt x="764" y="537"/>
                        </a:lnTo>
                        <a:lnTo>
                          <a:pt x="758" y="567"/>
                        </a:lnTo>
                        <a:lnTo>
                          <a:pt x="755" y="593"/>
                        </a:lnTo>
                        <a:lnTo>
                          <a:pt x="731" y="585"/>
                        </a:lnTo>
                        <a:lnTo>
                          <a:pt x="698" y="591"/>
                        </a:lnTo>
                        <a:lnTo>
                          <a:pt x="711" y="629"/>
                        </a:lnTo>
                        <a:lnTo>
                          <a:pt x="719" y="636"/>
                        </a:lnTo>
                        <a:lnTo>
                          <a:pt x="704" y="641"/>
                        </a:lnTo>
                        <a:lnTo>
                          <a:pt x="692" y="645"/>
                        </a:lnTo>
                        <a:lnTo>
                          <a:pt x="680" y="646"/>
                        </a:lnTo>
                        <a:lnTo>
                          <a:pt x="670" y="646"/>
                        </a:lnTo>
                        <a:lnTo>
                          <a:pt x="661" y="644"/>
                        </a:lnTo>
                        <a:lnTo>
                          <a:pt x="653" y="641"/>
                        </a:lnTo>
                        <a:lnTo>
                          <a:pt x="644" y="638"/>
                        </a:lnTo>
                        <a:lnTo>
                          <a:pt x="636" y="634"/>
                        </a:lnTo>
                        <a:lnTo>
                          <a:pt x="629" y="631"/>
                        </a:lnTo>
                        <a:lnTo>
                          <a:pt x="620" y="628"/>
                        </a:lnTo>
                        <a:lnTo>
                          <a:pt x="611" y="625"/>
                        </a:lnTo>
                        <a:lnTo>
                          <a:pt x="601" y="624"/>
                        </a:lnTo>
                        <a:lnTo>
                          <a:pt x="591" y="625"/>
                        </a:lnTo>
                        <a:lnTo>
                          <a:pt x="579" y="628"/>
                        </a:lnTo>
                        <a:lnTo>
                          <a:pt x="566" y="633"/>
                        </a:lnTo>
                        <a:lnTo>
                          <a:pt x="552" y="641"/>
                        </a:lnTo>
                        <a:lnTo>
                          <a:pt x="543" y="646"/>
                        </a:lnTo>
                        <a:lnTo>
                          <a:pt x="536" y="652"/>
                        </a:lnTo>
                        <a:lnTo>
                          <a:pt x="530" y="659"/>
                        </a:lnTo>
                        <a:lnTo>
                          <a:pt x="525" y="666"/>
                        </a:lnTo>
                        <a:lnTo>
                          <a:pt x="520" y="673"/>
                        </a:lnTo>
                        <a:lnTo>
                          <a:pt x="514" y="678"/>
                        </a:lnTo>
                        <a:lnTo>
                          <a:pt x="511" y="680"/>
                        </a:lnTo>
                        <a:lnTo>
                          <a:pt x="508" y="683"/>
                        </a:lnTo>
                        <a:lnTo>
                          <a:pt x="503" y="684"/>
                        </a:lnTo>
                        <a:lnTo>
                          <a:pt x="499" y="684"/>
                        </a:lnTo>
                        <a:lnTo>
                          <a:pt x="491" y="684"/>
                        </a:lnTo>
                        <a:lnTo>
                          <a:pt x="486" y="682"/>
                        </a:lnTo>
                        <a:lnTo>
                          <a:pt x="481" y="679"/>
                        </a:lnTo>
                        <a:lnTo>
                          <a:pt x="477" y="676"/>
                        </a:lnTo>
                        <a:lnTo>
                          <a:pt x="470" y="668"/>
                        </a:lnTo>
                        <a:lnTo>
                          <a:pt x="465" y="659"/>
                        </a:lnTo>
                        <a:lnTo>
                          <a:pt x="458" y="650"/>
                        </a:lnTo>
                        <a:lnTo>
                          <a:pt x="451" y="642"/>
                        </a:lnTo>
                        <a:lnTo>
                          <a:pt x="446" y="639"/>
                        </a:lnTo>
                        <a:lnTo>
                          <a:pt x="441" y="637"/>
                        </a:lnTo>
                        <a:lnTo>
                          <a:pt x="433" y="635"/>
                        </a:lnTo>
                        <a:lnTo>
                          <a:pt x="425" y="635"/>
                        </a:lnTo>
                        <a:lnTo>
                          <a:pt x="421" y="635"/>
                        </a:lnTo>
                        <a:lnTo>
                          <a:pt x="417" y="638"/>
                        </a:lnTo>
                        <a:lnTo>
                          <a:pt x="412" y="640"/>
                        </a:lnTo>
                        <a:lnTo>
                          <a:pt x="409" y="644"/>
                        </a:lnTo>
                        <a:lnTo>
                          <a:pt x="405" y="647"/>
                        </a:lnTo>
                        <a:lnTo>
                          <a:pt x="401" y="650"/>
                        </a:lnTo>
                        <a:lnTo>
                          <a:pt x="397" y="652"/>
                        </a:lnTo>
                        <a:lnTo>
                          <a:pt x="392" y="653"/>
                        </a:lnTo>
                        <a:lnTo>
                          <a:pt x="384" y="652"/>
                        </a:lnTo>
                        <a:lnTo>
                          <a:pt x="376" y="651"/>
                        </a:lnTo>
                        <a:lnTo>
                          <a:pt x="369" y="648"/>
                        </a:lnTo>
                        <a:lnTo>
                          <a:pt x="363" y="645"/>
                        </a:lnTo>
                        <a:lnTo>
                          <a:pt x="350" y="638"/>
                        </a:lnTo>
                        <a:lnTo>
                          <a:pt x="339" y="629"/>
                        </a:lnTo>
                        <a:lnTo>
                          <a:pt x="327" y="619"/>
                        </a:lnTo>
                        <a:lnTo>
                          <a:pt x="312" y="611"/>
                        </a:lnTo>
                        <a:lnTo>
                          <a:pt x="306" y="608"/>
                        </a:lnTo>
                        <a:lnTo>
                          <a:pt x="297" y="606"/>
                        </a:lnTo>
                        <a:lnTo>
                          <a:pt x="289" y="604"/>
                        </a:lnTo>
                        <a:lnTo>
                          <a:pt x="279" y="603"/>
                        </a:lnTo>
                        <a:lnTo>
                          <a:pt x="271" y="604"/>
                        </a:lnTo>
                        <a:lnTo>
                          <a:pt x="262" y="606"/>
                        </a:lnTo>
                        <a:lnTo>
                          <a:pt x="253" y="610"/>
                        </a:lnTo>
                        <a:lnTo>
                          <a:pt x="245" y="615"/>
                        </a:lnTo>
                        <a:lnTo>
                          <a:pt x="237" y="620"/>
                        </a:lnTo>
                        <a:lnTo>
                          <a:pt x="229" y="628"/>
                        </a:lnTo>
                        <a:lnTo>
                          <a:pt x="222" y="636"/>
                        </a:lnTo>
                        <a:lnTo>
                          <a:pt x="216" y="644"/>
                        </a:lnTo>
                        <a:lnTo>
                          <a:pt x="209" y="653"/>
                        </a:lnTo>
                        <a:lnTo>
                          <a:pt x="204" y="662"/>
                        </a:lnTo>
                        <a:lnTo>
                          <a:pt x="198" y="671"/>
                        </a:lnTo>
                        <a:lnTo>
                          <a:pt x="194" y="682"/>
                        </a:lnTo>
                        <a:lnTo>
                          <a:pt x="190" y="692"/>
                        </a:lnTo>
                        <a:lnTo>
                          <a:pt x="188" y="702"/>
                        </a:lnTo>
                        <a:lnTo>
                          <a:pt x="187" y="711"/>
                        </a:lnTo>
                        <a:lnTo>
                          <a:pt x="186" y="720"/>
                        </a:lnTo>
                        <a:lnTo>
                          <a:pt x="178" y="719"/>
                        </a:lnTo>
                        <a:lnTo>
                          <a:pt x="172" y="717"/>
                        </a:lnTo>
                        <a:lnTo>
                          <a:pt x="164" y="712"/>
                        </a:lnTo>
                        <a:lnTo>
                          <a:pt x="156" y="708"/>
                        </a:lnTo>
                        <a:lnTo>
                          <a:pt x="149" y="702"/>
                        </a:lnTo>
                        <a:lnTo>
                          <a:pt x="141" y="697"/>
                        </a:lnTo>
                        <a:lnTo>
                          <a:pt x="134" y="693"/>
                        </a:lnTo>
                        <a:lnTo>
                          <a:pt x="127" y="690"/>
                        </a:lnTo>
                        <a:lnTo>
                          <a:pt x="100" y="740"/>
                        </a:lnTo>
                        <a:lnTo>
                          <a:pt x="73" y="740"/>
                        </a:lnTo>
                        <a:lnTo>
                          <a:pt x="70" y="725"/>
                        </a:lnTo>
                        <a:lnTo>
                          <a:pt x="67" y="712"/>
                        </a:lnTo>
                        <a:lnTo>
                          <a:pt x="66" y="699"/>
                        </a:lnTo>
                        <a:lnTo>
                          <a:pt x="66" y="686"/>
                        </a:lnTo>
                        <a:lnTo>
                          <a:pt x="66" y="672"/>
                        </a:lnTo>
                        <a:lnTo>
                          <a:pt x="66" y="658"/>
                        </a:lnTo>
                        <a:lnTo>
                          <a:pt x="64" y="644"/>
                        </a:lnTo>
                        <a:lnTo>
                          <a:pt x="60" y="629"/>
                        </a:lnTo>
                        <a:lnTo>
                          <a:pt x="58" y="622"/>
                        </a:lnTo>
                        <a:lnTo>
                          <a:pt x="53" y="618"/>
                        </a:lnTo>
                        <a:lnTo>
                          <a:pt x="50" y="613"/>
                        </a:lnTo>
                        <a:lnTo>
                          <a:pt x="46" y="609"/>
                        </a:lnTo>
                        <a:lnTo>
                          <a:pt x="36" y="601"/>
                        </a:lnTo>
                        <a:lnTo>
                          <a:pt x="25" y="592"/>
                        </a:lnTo>
                        <a:lnTo>
                          <a:pt x="20" y="587"/>
                        </a:lnTo>
                        <a:lnTo>
                          <a:pt x="16" y="581"/>
                        </a:lnTo>
                        <a:lnTo>
                          <a:pt x="11" y="575"/>
                        </a:lnTo>
                        <a:lnTo>
                          <a:pt x="8" y="566"/>
                        </a:lnTo>
                        <a:lnTo>
                          <a:pt x="5" y="558"/>
                        </a:lnTo>
                        <a:lnTo>
                          <a:pt x="3" y="548"/>
                        </a:lnTo>
                        <a:lnTo>
                          <a:pt x="0" y="537"/>
                        </a:lnTo>
                        <a:lnTo>
                          <a:pt x="0" y="524"/>
                        </a:lnTo>
                        <a:lnTo>
                          <a:pt x="53" y="530"/>
                        </a:lnTo>
                        <a:lnTo>
                          <a:pt x="59" y="526"/>
                        </a:lnTo>
                        <a:lnTo>
                          <a:pt x="64" y="522"/>
                        </a:lnTo>
                        <a:lnTo>
                          <a:pt x="71" y="520"/>
                        </a:lnTo>
                        <a:lnTo>
                          <a:pt x="76" y="518"/>
                        </a:lnTo>
                        <a:lnTo>
                          <a:pt x="91" y="514"/>
                        </a:lnTo>
                        <a:lnTo>
                          <a:pt x="106" y="512"/>
                        </a:lnTo>
                        <a:lnTo>
                          <a:pt x="121" y="511"/>
                        </a:lnTo>
                        <a:lnTo>
                          <a:pt x="139" y="510"/>
                        </a:lnTo>
                        <a:lnTo>
                          <a:pt x="155" y="508"/>
                        </a:lnTo>
                        <a:lnTo>
                          <a:pt x="173" y="505"/>
                        </a:lnTo>
                        <a:lnTo>
                          <a:pt x="177" y="503"/>
                        </a:lnTo>
                        <a:lnTo>
                          <a:pt x="182" y="500"/>
                        </a:lnTo>
                        <a:lnTo>
                          <a:pt x="185" y="497"/>
                        </a:lnTo>
                        <a:lnTo>
                          <a:pt x="189" y="494"/>
                        </a:lnTo>
                        <a:lnTo>
                          <a:pt x="196" y="485"/>
                        </a:lnTo>
                        <a:lnTo>
                          <a:pt x="201" y="475"/>
                        </a:lnTo>
                        <a:lnTo>
                          <a:pt x="207" y="464"/>
                        </a:lnTo>
                        <a:lnTo>
                          <a:pt x="211" y="451"/>
                        </a:lnTo>
                        <a:lnTo>
                          <a:pt x="216" y="438"/>
                        </a:lnTo>
                        <a:lnTo>
                          <a:pt x="219" y="424"/>
                        </a:lnTo>
                        <a:lnTo>
                          <a:pt x="221" y="410"/>
                        </a:lnTo>
                        <a:lnTo>
                          <a:pt x="223" y="395"/>
                        </a:lnTo>
                        <a:lnTo>
                          <a:pt x="224" y="381"/>
                        </a:lnTo>
                        <a:lnTo>
                          <a:pt x="224" y="367"/>
                        </a:lnTo>
                        <a:lnTo>
                          <a:pt x="224" y="354"/>
                        </a:lnTo>
                        <a:lnTo>
                          <a:pt x="223" y="341"/>
                        </a:lnTo>
                        <a:lnTo>
                          <a:pt x="221" y="330"/>
                        </a:lnTo>
                        <a:lnTo>
                          <a:pt x="219" y="320"/>
                        </a:lnTo>
                        <a:lnTo>
                          <a:pt x="219" y="283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  <p:sp>
                <p:nvSpPr>
                  <p:cNvPr id="102" name="Freeform 546"/>
                  <p:cNvSpPr>
                    <a:spLocks/>
                  </p:cNvSpPr>
                  <p:nvPr>
                    <p:custDataLst>
                      <p:tags r:id="rId54"/>
                    </p:custDataLst>
                  </p:nvPr>
                </p:nvSpPr>
                <p:spPr bwMode="auto">
                  <a:xfrm>
                    <a:off x="2534596" y="891586"/>
                    <a:ext cx="953063" cy="616515"/>
                  </a:xfrm>
                  <a:custGeom>
                    <a:avLst/>
                    <a:gdLst>
                      <a:gd name="T0" fmla="*/ 885910 w 697"/>
                      <a:gd name="T1" fmla="*/ 65197 h 500"/>
                      <a:gd name="T2" fmla="*/ 898214 w 697"/>
                      <a:gd name="T3" fmla="*/ 198052 h 500"/>
                      <a:gd name="T4" fmla="*/ 903683 w 697"/>
                      <a:gd name="T5" fmla="*/ 205433 h 500"/>
                      <a:gd name="T6" fmla="*/ 925557 w 697"/>
                      <a:gd name="T7" fmla="*/ 217734 h 500"/>
                      <a:gd name="T8" fmla="*/ 948799 w 697"/>
                      <a:gd name="T9" fmla="*/ 232496 h 500"/>
                      <a:gd name="T10" fmla="*/ 952900 w 697"/>
                      <a:gd name="T11" fmla="*/ 243567 h 500"/>
                      <a:gd name="T12" fmla="*/ 948799 w 697"/>
                      <a:gd name="T13" fmla="*/ 259559 h 500"/>
                      <a:gd name="T14" fmla="*/ 936494 w 697"/>
                      <a:gd name="T15" fmla="*/ 266940 h 500"/>
                      <a:gd name="T16" fmla="*/ 895480 w 697"/>
                      <a:gd name="T17" fmla="*/ 268170 h 500"/>
                      <a:gd name="T18" fmla="*/ 827123 w 697"/>
                      <a:gd name="T19" fmla="*/ 280471 h 500"/>
                      <a:gd name="T20" fmla="*/ 775171 w 697"/>
                      <a:gd name="T21" fmla="*/ 307534 h 500"/>
                      <a:gd name="T22" fmla="*/ 750563 w 697"/>
                      <a:gd name="T23" fmla="*/ 328446 h 500"/>
                      <a:gd name="T24" fmla="*/ 736891 w 697"/>
                      <a:gd name="T25" fmla="*/ 354279 h 500"/>
                      <a:gd name="T26" fmla="*/ 712283 w 697"/>
                      <a:gd name="T27" fmla="*/ 371501 h 500"/>
                      <a:gd name="T28" fmla="*/ 671268 w 697"/>
                      <a:gd name="T29" fmla="*/ 398564 h 500"/>
                      <a:gd name="T30" fmla="*/ 622051 w 697"/>
                      <a:gd name="T31" fmla="*/ 433008 h 500"/>
                      <a:gd name="T32" fmla="*/ 574201 w 697"/>
                      <a:gd name="T33" fmla="*/ 455150 h 500"/>
                      <a:gd name="T34" fmla="*/ 508578 w 697"/>
                      <a:gd name="T35" fmla="*/ 463761 h 500"/>
                      <a:gd name="T36" fmla="*/ 470298 w 697"/>
                      <a:gd name="T37" fmla="*/ 467452 h 500"/>
                      <a:gd name="T38" fmla="*/ 432018 w 697"/>
                      <a:gd name="T39" fmla="*/ 487134 h 500"/>
                      <a:gd name="T40" fmla="*/ 396472 w 697"/>
                      <a:gd name="T41" fmla="*/ 512967 h 500"/>
                      <a:gd name="T42" fmla="*/ 362293 w 697"/>
                      <a:gd name="T43" fmla="*/ 524038 h 500"/>
                      <a:gd name="T44" fmla="*/ 6836 w 697"/>
                      <a:gd name="T45" fmla="*/ 610147 h 500"/>
                      <a:gd name="T46" fmla="*/ 43749 w 697"/>
                      <a:gd name="T47" fmla="*/ 599076 h 500"/>
                      <a:gd name="T48" fmla="*/ 116207 w 697"/>
                      <a:gd name="T49" fmla="*/ 581854 h 500"/>
                      <a:gd name="T50" fmla="*/ 127144 w 697"/>
                      <a:gd name="T51" fmla="*/ 564632 h 500"/>
                      <a:gd name="T52" fmla="*/ 135347 w 697"/>
                      <a:gd name="T53" fmla="*/ 538800 h 500"/>
                      <a:gd name="T54" fmla="*/ 162690 w 697"/>
                      <a:gd name="T55" fmla="*/ 519117 h 500"/>
                      <a:gd name="T56" fmla="*/ 218743 w 697"/>
                      <a:gd name="T57" fmla="*/ 490824 h 500"/>
                      <a:gd name="T58" fmla="*/ 247453 w 697"/>
                      <a:gd name="T59" fmla="*/ 469912 h 500"/>
                      <a:gd name="T60" fmla="*/ 262492 w 697"/>
                      <a:gd name="T61" fmla="*/ 439159 h 500"/>
                      <a:gd name="T62" fmla="*/ 263859 w 697"/>
                      <a:gd name="T63" fmla="*/ 388723 h 500"/>
                      <a:gd name="T64" fmla="*/ 266593 w 697"/>
                      <a:gd name="T65" fmla="*/ 312455 h 500"/>
                      <a:gd name="T66" fmla="*/ 262492 w 697"/>
                      <a:gd name="T67" fmla="*/ 236186 h 500"/>
                      <a:gd name="T68" fmla="*/ 292569 w 697"/>
                      <a:gd name="T69" fmla="*/ 232496 h 500"/>
                      <a:gd name="T70" fmla="*/ 311709 w 697"/>
                      <a:gd name="T71" fmla="*/ 220194 h 500"/>
                      <a:gd name="T72" fmla="*/ 329482 w 697"/>
                      <a:gd name="T73" fmla="*/ 202972 h 500"/>
                      <a:gd name="T74" fmla="*/ 344520 w 697"/>
                      <a:gd name="T75" fmla="*/ 186981 h 500"/>
                      <a:gd name="T76" fmla="*/ 384168 w 697"/>
                      <a:gd name="T77" fmla="*/ 179600 h 500"/>
                      <a:gd name="T78" fmla="*/ 429284 w 697"/>
                      <a:gd name="T79" fmla="*/ 175909 h 500"/>
                      <a:gd name="T80" fmla="*/ 464829 w 697"/>
                      <a:gd name="T81" fmla="*/ 161148 h 500"/>
                      <a:gd name="T82" fmla="*/ 492172 w 697"/>
                      <a:gd name="T83" fmla="*/ 132855 h 500"/>
                      <a:gd name="T84" fmla="*/ 530452 w 697"/>
                      <a:gd name="T85" fmla="*/ 59047 h 500"/>
                      <a:gd name="T86" fmla="*/ 556428 w 697"/>
                      <a:gd name="T87" fmla="*/ 14762 h 500"/>
                      <a:gd name="T88" fmla="*/ 582404 w 697"/>
                      <a:gd name="T89" fmla="*/ 9841 h 500"/>
                      <a:gd name="T90" fmla="*/ 613848 w 697"/>
                      <a:gd name="T91" fmla="*/ 24603 h 500"/>
                      <a:gd name="T92" fmla="*/ 699978 w 697"/>
                      <a:gd name="T93" fmla="*/ 22142 h 500"/>
                      <a:gd name="T94" fmla="*/ 806616 w 697"/>
                      <a:gd name="T95" fmla="*/ 15992 h 500"/>
                      <a:gd name="T96" fmla="*/ 816186 w 697"/>
                      <a:gd name="T97" fmla="*/ 20912 h 500"/>
                      <a:gd name="T98" fmla="*/ 827123 w 697"/>
                      <a:gd name="T99" fmla="*/ 44285 h 500"/>
                      <a:gd name="T100" fmla="*/ 835326 w 697"/>
                      <a:gd name="T101" fmla="*/ 62737 h 500"/>
                      <a:gd name="T102" fmla="*/ 844896 w 697"/>
                      <a:gd name="T103" fmla="*/ 61507 h 500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697"/>
                      <a:gd name="T157" fmla="*/ 0 h 500"/>
                      <a:gd name="T158" fmla="*/ 697 w 697"/>
                      <a:gd name="T159" fmla="*/ 500 h 500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697" h="500">
                        <a:moveTo>
                          <a:pt x="631" y="50"/>
                        </a:moveTo>
                        <a:lnTo>
                          <a:pt x="635" y="51"/>
                        </a:lnTo>
                        <a:lnTo>
                          <a:pt x="648" y="53"/>
                        </a:lnTo>
                        <a:lnTo>
                          <a:pt x="659" y="55"/>
                        </a:lnTo>
                        <a:lnTo>
                          <a:pt x="664" y="56"/>
                        </a:lnTo>
                        <a:lnTo>
                          <a:pt x="657" y="161"/>
                        </a:lnTo>
                        <a:lnTo>
                          <a:pt x="657" y="163"/>
                        </a:lnTo>
                        <a:lnTo>
                          <a:pt x="659" y="165"/>
                        </a:lnTo>
                        <a:lnTo>
                          <a:pt x="661" y="167"/>
                        </a:lnTo>
                        <a:lnTo>
                          <a:pt x="664" y="169"/>
                        </a:lnTo>
                        <a:lnTo>
                          <a:pt x="669" y="173"/>
                        </a:lnTo>
                        <a:lnTo>
                          <a:pt x="677" y="177"/>
                        </a:lnTo>
                        <a:lnTo>
                          <a:pt x="685" y="181"/>
                        </a:lnTo>
                        <a:lnTo>
                          <a:pt x="691" y="185"/>
                        </a:lnTo>
                        <a:lnTo>
                          <a:pt x="694" y="189"/>
                        </a:lnTo>
                        <a:lnTo>
                          <a:pt x="696" y="192"/>
                        </a:lnTo>
                        <a:lnTo>
                          <a:pt x="697" y="195"/>
                        </a:lnTo>
                        <a:lnTo>
                          <a:pt x="697" y="198"/>
                        </a:lnTo>
                        <a:lnTo>
                          <a:pt x="697" y="203"/>
                        </a:lnTo>
                        <a:lnTo>
                          <a:pt x="696" y="208"/>
                        </a:lnTo>
                        <a:lnTo>
                          <a:pt x="694" y="211"/>
                        </a:lnTo>
                        <a:lnTo>
                          <a:pt x="691" y="214"/>
                        </a:lnTo>
                        <a:lnTo>
                          <a:pt x="688" y="216"/>
                        </a:lnTo>
                        <a:lnTo>
                          <a:pt x="685" y="217"/>
                        </a:lnTo>
                        <a:lnTo>
                          <a:pt x="680" y="218"/>
                        </a:lnTo>
                        <a:lnTo>
                          <a:pt x="676" y="219"/>
                        </a:lnTo>
                        <a:lnTo>
                          <a:pt x="655" y="218"/>
                        </a:lnTo>
                        <a:lnTo>
                          <a:pt x="631" y="216"/>
                        </a:lnTo>
                        <a:lnTo>
                          <a:pt x="619" y="221"/>
                        </a:lnTo>
                        <a:lnTo>
                          <a:pt x="605" y="228"/>
                        </a:lnTo>
                        <a:lnTo>
                          <a:pt x="589" y="235"/>
                        </a:lnTo>
                        <a:lnTo>
                          <a:pt x="574" y="245"/>
                        </a:lnTo>
                        <a:lnTo>
                          <a:pt x="567" y="250"/>
                        </a:lnTo>
                        <a:lnTo>
                          <a:pt x="560" y="256"/>
                        </a:lnTo>
                        <a:lnTo>
                          <a:pt x="554" y="261"/>
                        </a:lnTo>
                        <a:lnTo>
                          <a:pt x="549" y="267"/>
                        </a:lnTo>
                        <a:lnTo>
                          <a:pt x="544" y="274"/>
                        </a:lnTo>
                        <a:lnTo>
                          <a:pt x="541" y="281"/>
                        </a:lnTo>
                        <a:lnTo>
                          <a:pt x="539" y="288"/>
                        </a:lnTo>
                        <a:lnTo>
                          <a:pt x="538" y="296"/>
                        </a:lnTo>
                        <a:lnTo>
                          <a:pt x="529" y="299"/>
                        </a:lnTo>
                        <a:lnTo>
                          <a:pt x="521" y="302"/>
                        </a:lnTo>
                        <a:lnTo>
                          <a:pt x="514" y="306"/>
                        </a:lnTo>
                        <a:lnTo>
                          <a:pt x="506" y="312"/>
                        </a:lnTo>
                        <a:lnTo>
                          <a:pt x="491" y="324"/>
                        </a:lnTo>
                        <a:lnTo>
                          <a:pt x="475" y="339"/>
                        </a:lnTo>
                        <a:lnTo>
                          <a:pt x="465" y="346"/>
                        </a:lnTo>
                        <a:lnTo>
                          <a:pt x="455" y="352"/>
                        </a:lnTo>
                        <a:lnTo>
                          <a:pt x="445" y="360"/>
                        </a:lnTo>
                        <a:lnTo>
                          <a:pt x="433" y="365"/>
                        </a:lnTo>
                        <a:lnTo>
                          <a:pt x="420" y="370"/>
                        </a:lnTo>
                        <a:lnTo>
                          <a:pt x="406" y="373"/>
                        </a:lnTo>
                        <a:lnTo>
                          <a:pt x="389" y="376"/>
                        </a:lnTo>
                        <a:lnTo>
                          <a:pt x="372" y="377"/>
                        </a:lnTo>
                        <a:lnTo>
                          <a:pt x="361" y="377"/>
                        </a:lnTo>
                        <a:lnTo>
                          <a:pt x="352" y="378"/>
                        </a:lnTo>
                        <a:lnTo>
                          <a:pt x="344" y="380"/>
                        </a:lnTo>
                        <a:lnTo>
                          <a:pt x="337" y="382"/>
                        </a:lnTo>
                        <a:lnTo>
                          <a:pt x="326" y="389"/>
                        </a:lnTo>
                        <a:lnTo>
                          <a:pt x="316" y="396"/>
                        </a:lnTo>
                        <a:lnTo>
                          <a:pt x="306" y="404"/>
                        </a:lnTo>
                        <a:lnTo>
                          <a:pt x="296" y="413"/>
                        </a:lnTo>
                        <a:lnTo>
                          <a:pt x="290" y="417"/>
                        </a:lnTo>
                        <a:lnTo>
                          <a:pt x="283" y="420"/>
                        </a:lnTo>
                        <a:lnTo>
                          <a:pt x="274" y="423"/>
                        </a:lnTo>
                        <a:lnTo>
                          <a:pt x="265" y="426"/>
                        </a:lnTo>
                        <a:lnTo>
                          <a:pt x="272" y="494"/>
                        </a:lnTo>
                        <a:lnTo>
                          <a:pt x="0" y="500"/>
                        </a:lnTo>
                        <a:lnTo>
                          <a:pt x="5" y="496"/>
                        </a:lnTo>
                        <a:lnTo>
                          <a:pt x="13" y="492"/>
                        </a:lnTo>
                        <a:lnTo>
                          <a:pt x="22" y="490"/>
                        </a:lnTo>
                        <a:lnTo>
                          <a:pt x="32" y="487"/>
                        </a:lnTo>
                        <a:lnTo>
                          <a:pt x="55" y="483"/>
                        </a:lnTo>
                        <a:lnTo>
                          <a:pt x="80" y="475"/>
                        </a:lnTo>
                        <a:lnTo>
                          <a:pt x="85" y="473"/>
                        </a:lnTo>
                        <a:lnTo>
                          <a:pt x="90" y="469"/>
                        </a:lnTo>
                        <a:lnTo>
                          <a:pt x="92" y="465"/>
                        </a:lnTo>
                        <a:lnTo>
                          <a:pt x="93" y="459"/>
                        </a:lnTo>
                        <a:lnTo>
                          <a:pt x="93" y="451"/>
                        </a:lnTo>
                        <a:lnTo>
                          <a:pt x="93" y="444"/>
                        </a:lnTo>
                        <a:lnTo>
                          <a:pt x="99" y="438"/>
                        </a:lnTo>
                        <a:lnTo>
                          <a:pt x="104" y="432"/>
                        </a:lnTo>
                        <a:lnTo>
                          <a:pt x="112" y="427"/>
                        </a:lnTo>
                        <a:lnTo>
                          <a:pt x="119" y="422"/>
                        </a:lnTo>
                        <a:lnTo>
                          <a:pt x="136" y="414"/>
                        </a:lnTo>
                        <a:lnTo>
                          <a:pt x="152" y="404"/>
                        </a:lnTo>
                        <a:lnTo>
                          <a:pt x="160" y="399"/>
                        </a:lnTo>
                        <a:lnTo>
                          <a:pt x="168" y="394"/>
                        </a:lnTo>
                        <a:lnTo>
                          <a:pt x="174" y="388"/>
                        </a:lnTo>
                        <a:lnTo>
                          <a:pt x="181" y="382"/>
                        </a:lnTo>
                        <a:lnTo>
                          <a:pt x="185" y="375"/>
                        </a:lnTo>
                        <a:lnTo>
                          <a:pt x="189" y="366"/>
                        </a:lnTo>
                        <a:lnTo>
                          <a:pt x="192" y="357"/>
                        </a:lnTo>
                        <a:lnTo>
                          <a:pt x="192" y="345"/>
                        </a:lnTo>
                        <a:lnTo>
                          <a:pt x="193" y="332"/>
                        </a:lnTo>
                        <a:lnTo>
                          <a:pt x="193" y="316"/>
                        </a:lnTo>
                        <a:lnTo>
                          <a:pt x="194" y="296"/>
                        </a:lnTo>
                        <a:lnTo>
                          <a:pt x="195" y="275"/>
                        </a:lnTo>
                        <a:lnTo>
                          <a:pt x="195" y="254"/>
                        </a:lnTo>
                        <a:lnTo>
                          <a:pt x="195" y="232"/>
                        </a:lnTo>
                        <a:lnTo>
                          <a:pt x="194" y="211"/>
                        </a:lnTo>
                        <a:lnTo>
                          <a:pt x="192" y="192"/>
                        </a:lnTo>
                        <a:lnTo>
                          <a:pt x="201" y="192"/>
                        </a:lnTo>
                        <a:lnTo>
                          <a:pt x="207" y="190"/>
                        </a:lnTo>
                        <a:lnTo>
                          <a:pt x="214" y="189"/>
                        </a:lnTo>
                        <a:lnTo>
                          <a:pt x="219" y="185"/>
                        </a:lnTo>
                        <a:lnTo>
                          <a:pt x="224" y="182"/>
                        </a:lnTo>
                        <a:lnTo>
                          <a:pt x="228" y="179"/>
                        </a:lnTo>
                        <a:lnTo>
                          <a:pt x="232" y="176"/>
                        </a:lnTo>
                        <a:lnTo>
                          <a:pt x="236" y="172"/>
                        </a:lnTo>
                        <a:lnTo>
                          <a:pt x="241" y="165"/>
                        </a:lnTo>
                        <a:lnTo>
                          <a:pt x="247" y="158"/>
                        </a:lnTo>
                        <a:lnTo>
                          <a:pt x="249" y="155"/>
                        </a:lnTo>
                        <a:lnTo>
                          <a:pt x="252" y="152"/>
                        </a:lnTo>
                        <a:lnTo>
                          <a:pt x="256" y="150"/>
                        </a:lnTo>
                        <a:lnTo>
                          <a:pt x="259" y="149"/>
                        </a:lnTo>
                        <a:lnTo>
                          <a:pt x="281" y="146"/>
                        </a:lnTo>
                        <a:lnTo>
                          <a:pt x="297" y="145"/>
                        </a:lnTo>
                        <a:lnTo>
                          <a:pt x="306" y="144"/>
                        </a:lnTo>
                        <a:lnTo>
                          <a:pt x="314" y="143"/>
                        </a:lnTo>
                        <a:lnTo>
                          <a:pt x="323" y="140"/>
                        </a:lnTo>
                        <a:lnTo>
                          <a:pt x="331" y="137"/>
                        </a:lnTo>
                        <a:lnTo>
                          <a:pt x="340" y="131"/>
                        </a:lnTo>
                        <a:lnTo>
                          <a:pt x="348" y="124"/>
                        </a:lnTo>
                        <a:lnTo>
                          <a:pt x="354" y="116"/>
                        </a:lnTo>
                        <a:lnTo>
                          <a:pt x="360" y="108"/>
                        </a:lnTo>
                        <a:lnTo>
                          <a:pt x="371" y="89"/>
                        </a:lnTo>
                        <a:lnTo>
                          <a:pt x="380" y="68"/>
                        </a:lnTo>
                        <a:lnTo>
                          <a:pt x="388" y="48"/>
                        </a:lnTo>
                        <a:lnTo>
                          <a:pt x="397" y="29"/>
                        </a:lnTo>
                        <a:lnTo>
                          <a:pt x="402" y="21"/>
                        </a:lnTo>
                        <a:lnTo>
                          <a:pt x="407" y="12"/>
                        </a:lnTo>
                        <a:lnTo>
                          <a:pt x="413" y="6"/>
                        </a:lnTo>
                        <a:lnTo>
                          <a:pt x="418" y="0"/>
                        </a:lnTo>
                        <a:lnTo>
                          <a:pt x="426" y="8"/>
                        </a:lnTo>
                        <a:lnTo>
                          <a:pt x="433" y="14"/>
                        </a:lnTo>
                        <a:lnTo>
                          <a:pt x="441" y="17"/>
                        </a:lnTo>
                        <a:lnTo>
                          <a:pt x="449" y="20"/>
                        </a:lnTo>
                        <a:lnTo>
                          <a:pt x="465" y="20"/>
                        </a:lnTo>
                        <a:lnTo>
                          <a:pt x="485" y="20"/>
                        </a:lnTo>
                        <a:lnTo>
                          <a:pt x="512" y="18"/>
                        </a:lnTo>
                        <a:lnTo>
                          <a:pt x="543" y="16"/>
                        </a:lnTo>
                        <a:lnTo>
                          <a:pt x="571" y="14"/>
                        </a:lnTo>
                        <a:lnTo>
                          <a:pt x="590" y="13"/>
                        </a:lnTo>
                        <a:lnTo>
                          <a:pt x="594" y="13"/>
                        </a:lnTo>
                        <a:lnTo>
                          <a:pt x="595" y="15"/>
                        </a:lnTo>
                        <a:lnTo>
                          <a:pt x="597" y="17"/>
                        </a:lnTo>
                        <a:lnTo>
                          <a:pt x="599" y="21"/>
                        </a:lnTo>
                        <a:lnTo>
                          <a:pt x="601" y="28"/>
                        </a:lnTo>
                        <a:lnTo>
                          <a:pt x="605" y="36"/>
                        </a:lnTo>
                        <a:lnTo>
                          <a:pt x="607" y="44"/>
                        </a:lnTo>
                        <a:lnTo>
                          <a:pt x="609" y="49"/>
                        </a:lnTo>
                        <a:lnTo>
                          <a:pt x="611" y="51"/>
                        </a:lnTo>
                        <a:lnTo>
                          <a:pt x="613" y="52"/>
                        </a:lnTo>
                        <a:lnTo>
                          <a:pt x="615" y="51"/>
                        </a:lnTo>
                        <a:lnTo>
                          <a:pt x="618" y="50"/>
                        </a:lnTo>
                        <a:lnTo>
                          <a:pt x="631" y="50"/>
                        </a:lnTo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ea typeface="宋体" pitchFamily="2" charset="-122"/>
                    </a:endParaRPr>
                  </a:p>
                </p:txBody>
              </p:sp>
            </p:grpSp>
            <p:sp>
              <p:nvSpPr>
                <p:cNvPr id="30770" name="Freeform 106">
                  <a:hlinkClick r:id="rId59" action="ppaction://hlinkpres?slideindex=1&amp;slidetitle=" tooltip="Sào Tomé and Príncipe"/>
                </p:cNvPr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5436096" y="2924944"/>
                  <a:ext cx="45719" cy="57810"/>
                </a:xfrm>
                <a:custGeom>
                  <a:avLst/>
                  <a:gdLst>
                    <a:gd name="T0" fmla="*/ 0 w 66"/>
                    <a:gd name="T1" fmla="*/ 0 h 44"/>
                    <a:gd name="T2" fmla="*/ 2147483647 w 66"/>
                    <a:gd name="T3" fmla="*/ 2147483647 h 44"/>
                    <a:gd name="T4" fmla="*/ 2147483647 w 66"/>
                    <a:gd name="T5" fmla="*/ 2147483647 h 44"/>
                    <a:gd name="T6" fmla="*/ 2147483647 w 66"/>
                    <a:gd name="T7" fmla="*/ 2147483647 h 44"/>
                    <a:gd name="T8" fmla="*/ 2147483647 w 66"/>
                    <a:gd name="T9" fmla="*/ 2147483647 h 44"/>
                    <a:gd name="T10" fmla="*/ 2147483647 w 66"/>
                    <a:gd name="T11" fmla="*/ 2147483647 h 44"/>
                    <a:gd name="T12" fmla="*/ 2147483647 w 66"/>
                    <a:gd name="T13" fmla="*/ 2147483647 h 44"/>
                    <a:gd name="T14" fmla="*/ 2147483647 w 66"/>
                    <a:gd name="T15" fmla="*/ 2147483647 h 44"/>
                    <a:gd name="T16" fmla="*/ 2147483647 w 66"/>
                    <a:gd name="T17" fmla="*/ 2147483647 h 44"/>
                    <a:gd name="T18" fmla="*/ 2147483647 w 66"/>
                    <a:gd name="T19" fmla="*/ 2147483647 h 44"/>
                    <a:gd name="T20" fmla="*/ 2147483647 w 66"/>
                    <a:gd name="T21" fmla="*/ 2147483647 h 44"/>
                    <a:gd name="T22" fmla="*/ 2147483647 w 66"/>
                    <a:gd name="T23" fmla="*/ 2147483647 h 44"/>
                    <a:gd name="T24" fmla="*/ 2147483647 w 66"/>
                    <a:gd name="T25" fmla="*/ 2147483647 h 44"/>
                    <a:gd name="T26" fmla="*/ 2147483647 w 66"/>
                    <a:gd name="T27" fmla="*/ 2147483647 h 44"/>
                    <a:gd name="T28" fmla="*/ 2147483647 w 66"/>
                    <a:gd name="T29" fmla="*/ 2147483647 h 44"/>
                    <a:gd name="T30" fmla="*/ 2147483647 w 66"/>
                    <a:gd name="T31" fmla="*/ 2147483647 h 44"/>
                    <a:gd name="T32" fmla="*/ 2147483647 w 66"/>
                    <a:gd name="T33" fmla="*/ 2147483647 h 44"/>
                    <a:gd name="T34" fmla="*/ 2147483647 w 66"/>
                    <a:gd name="T35" fmla="*/ 2147483647 h 44"/>
                    <a:gd name="T36" fmla="*/ 0 w 66"/>
                    <a:gd name="T37" fmla="*/ 2147483647 h 44"/>
                    <a:gd name="T38" fmla="*/ 0 w 66"/>
                    <a:gd name="T39" fmla="*/ 2147483647 h 44"/>
                    <a:gd name="T40" fmla="*/ 0 w 66"/>
                    <a:gd name="T41" fmla="*/ 2147483647 h 44"/>
                    <a:gd name="T42" fmla="*/ 0 w 66"/>
                    <a:gd name="T43" fmla="*/ 2147483647 h 44"/>
                    <a:gd name="T44" fmla="*/ 0 w 66"/>
                    <a:gd name="T45" fmla="*/ 0 h 4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66"/>
                    <a:gd name="T70" fmla="*/ 0 h 44"/>
                    <a:gd name="T71" fmla="*/ 66 w 66"/>
                    <a:gd name="T72" fmla="*/ 44 h 4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66" h="44">
                      <a:moveTo>
                        <a:pt x="0" y="0"/>
                      </a:moveTo>
                      <a:lnTo>
                        <a:pt x="13" y="1"/>
                      </a:lnTo>
                      <a:lnTo>
                        <a:pt x="23" y="2"/>
                      </a:lnTo>
                      <a:lnTo>
                        <a:pt x="32" y="4"/>
                      </a:lnTo>
                      <a:lnTo>
                        <a:pt x="38" y="7"/>
                      </a:lnTo>
                      <a:lnTo>
                        <a:pt x="44" y="9"/>
                      </a:lnTo>
                      <a:lnTo>
                        <a:pt x="50" y="11"/>
                      </a:lnTo>
                      <a:lnTo>
                        <a:pt x="57" y="12"/>
                      </a:lnTo>
                      <a:lnTo>
                        <a:pt x="66" y="13"/>
                      </a:lnTo>
                      <a:lnTo>
                        <a:pt x="65" y="17"/>
                      </a:lnTo>
                      <a:lnTo>
                        <a:pt x="62" y="21"/>
                      </a:lnTo>
                      <a:lnTo>
                        <a:pt x="60" y="25"/>
                      </a:lnTo>
                      <a:lnTo>
                        <a:pt x="57" y="28"/>
                      </a:lnTo>
                      <a:lnTo>
                        <a:pt x="49" y="34"/>
                      </a:lnTo>
                      <a:lnTo>
                        <a:pt x="40" y="39"/>
                      </a:lnTo>
                      <a:lnTo>
                        <a:pt x="31" y="42"/>
                      </a:lnTo>
                      <a:lnTo>
                        <a:pt x="21" y="44"/>
                      </a:lnTo>
                      <a:lnTo>
                        <a:pt x="10" y="44"/>
                      </a:lnTo>
                      <a:lnTo>
                        <a:pt x="0" y="43"/>
                      </a:lnTo>
                      <a:lnTo>
                        <a:pt x="0" y="31"/>
                      </a:lnTo>
                      <a:lnTo>
                        <a:pt x="0" y="22"/>
                      </a:lnTo>
                      <a:lnTo>
                        <a:pt x="0" y="1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7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pic>
            <p:nvPicPr>
              <p:cNvPr id="30750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0" cstate="print"/>
              <a:srcRect/>
              <a:stretch>
                <a:fillRect/>
              </a:stretch>
            </p:blipFill>
            <p:spPr bwMode="auto">
              <a:xfrm>
                <a:off x="5629208" y="4662248"/>
                <a:ext cx="341366" cy="3954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9" name="Picture 3"/>
              <p:cNvPicPr preferRelativeResize="0">
                <a:picLocks noChangeArrowheads="1"/>
              </p:cNvPicPr>
              <p:nvPr/>
            </p:nvPicPr>
            <p:blipFill>
              <a:blip r:embed="rId61" cstate="print"/>
              <a:srcRect/>
              <a:stretch>
                <a:fillRect/>
              </a:stretch>
            </p:blipFill>
            <p:spPr bwMode="auto">
              <a:xfrm rot="1200000">
                <a:off x="5636984" y="4632308"/>
                <a:ext cx="248762" cy="274599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30752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4728301" y="4968960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1" name="Picture 30"/>
              <p:cNvPicPr/>
              <p:nvPr/>
            </p:nvPicPr>
            <p:blipFill>
              <a:blip r:embed="rId63" cstate="print"/>
              <a:srcRect/>
              <a:stretch>
                <a:fillRect/>
              </a:stretch>
            </p:blipFill>
            <p:spPr bwMode="auto">
              <a:xfrm rot="1200000">
                <a:off x="4694167" y="4960406"/>
                <a:ext cx="260116" cy="274256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30754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168180" y="4884349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5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404172" y="5304398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6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947414" y="4078704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7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947056" y="3604625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8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 rot="-878014">
                <a:off x="5823883" y="2921765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9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2967751" y="2518063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8" name="Picture 37"/>
              <p:cNvPicPr/>
              <p:nvPr/>
            </p:nvPicPr>
            <p:blipFill>
              <a:blip r:embed="rId64" cstate="print"/>
              <a:srcRect/>
              <a:stretch>
                <a:fillRect/>
              </a:stretch>
            </p:blipFill>
            <p:spPr bwMode="auto">
              <a:xfrm rot="1200000">
                <a:off x="2973055" y="2525180"/>
                <a:ext cx="247405" cy="238950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39" name="Picture 38"/>
              <p:cNvPicPr/>
              <p:nvPr/>
            </p:nvPicPr>
            <p:blipFill>
              <a:blip r:embed="rId65" cstate="print"/>
              <a:srcRect/>
              <a:stretch>
                <a:fillRect/>
              </a:stretch>
            </p:blipFill>
            <p:spPr bwMode="auto">
              <a:xfrm rot="1200000">
                <a:off x="5150127" y="4881161"/>
                <a:ext cx="262899" cy="274519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40" name="Picture 39"/>
              <p:cNvPicPr/>
              <p:nvPr/>
            </p:nvPicPr>
            <p:blipFill>
              <a:blip r:embed="rId66" cstate="print"/>
              <a:srcRect/>
              <a:stretch>
                <a:fillRect/>
              </a:stretch>
            </p:blipFill>
            <p:spPr bwMode="auto">
              <a:xfrm rot="1200000">
                <a:off x="5399299" y="5252119"/>
                <a:ext cx="248191" cy="301324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grpSp>
            <p:nvGrpSpPr>
              <p:cNvPr id="7" name="Group 40"/>
              <p:cNvGrpSpPr>
                <a:grpSpLocks/>
              </p:cNvGrpSpPr>
              <p:nvPr/>
            </p:nvGrpSpPr>
            <p:grpSpPr bwMode="auto">
              <a:xfrm>
                <a:off x="5707560" y="5057676"/>
                <a:ext cx="384227" cy="453026"/>
                <a:chOff x="5865850" y="5130606"/>
                <a:chExt cx="384227" cy="453026"/>
              </a:xfrm>
            </p:grpSpPr>
            <p:pic>
              <p:nvPicPr>
                <p:cNvPr id="30767" name="Picture 7" descr="D:\sookhyun\PPT\PNG,아이콘\010. 1종 국기압정\PNG\유럽\영국.png"/>
                <p:cNvPicPr>
                  <a:picLocks noChangeAspect="1" noChangeArrowheads="1"/>
                </p:cNvPicPr>
                <p:nvPr/>
              </p:nvPicPr>
              <p:blipFill>
                <a:blip r:embed="rId62" cstate="print"/>
                <a:srcRect/>
                <a:stretch>
                  <a:fillRect/>
                </a:stretch>
              </p:blipFill>
              <p:spPr bwMode="auto">
                <a:xfrm>
                  <a:off x="5889300" y="5165720"/>
                  <a:ext cx="360777" cy="4179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6" name="Picture 45"/>
                <p:cNvPicPr/>
                <p:nvPr/>
              </p:nvPicPr>
              <p:blipFill>
                <a:blip r:embed="rId67" cstate="print"/>
                <a:srcRect/>
                <a:stretch>
                  <a:fillRect/>
                </a:stretch>
              </p:blipFill>
              <p:spPr bwMode="auto">
                <a:xfrm rot="1200000">
                  <a:off x="5865850" y="5130606"/>
                  <a:ext cx="281714" cy="295849"/>
                </a:xfrm>
                <a:prstGeom prst="ellipse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</p:grpSp>
          <p:pic>
            <p:nvPicPr>
              <p:cNvPr id="42" name="Picture 41"/>
              <p:cNvPicPr/>
              <p:nvPr/>
            </p:nvPicPr>
            <p:blipFill>
              <a:blip r:embed="rId68" cstate="print"/>
              <a:srcRect/>
              <a:stretch>
                <a:fillRect/>
              </a:stretch>
            </p:blipFill>
            <p:spPr bwMode="auto">
              <a:xfrm rot="1200000">
                <a:off x="5913108" y="4086037"/>
                <a:ext cx="263718" cy="2854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43" name="Picture 42"/>
              <p:cNvPicPr/>
              <p:nvPr/>
            </p:nvPicPr>
            <p:blipFill>
              <a:blip r:embed="rId69" cstate="print"/>
              <a:srcRect/>
              <a:stretch>
                <a:fillRect/>
              </a:stretch>
            </p:blipFill>
            <p:spPr bwMode="auto">
              <a:xfrm rot="1200000">
                <a:off x="5905106" y="3583264"/>
                <a:ext cx="279721" cy="2775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  <p:pic>
            <p:nvPicPr>
              <p:cNvPr id="44" name="Picture 43"/>
              <p:cNvPicPr/>
              <p:nvPr/>
            </p:nvPicPr>
            <p:blipFill>
              <a:blip r:embed="rId70" cstate="print"/>
              <a:srcRect/>
              <a:stretch>
                <a:fillRect/>
              </a:stretch>
            </p:blipFill>
            <p:spPr bwMode="auto">
              <a:xfrm rot="1200000">
                <a:off x="5816817" y="2908786"/>
                <a:ext cx="234651" cy="277143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pic>
        </p:grpSp>
        <p:grpSp>
          <p:nvGrpSpPr>
            <p:cNvPr id="8" name="Group 12"/>
            <p:cNvGrpSpPr>
              <a:grpSpLocks/>
            </p:cNvGrpSpPr>
            <p:nvPr/>
          </p:nvGrpSpPr>
          <p:grpSpPr bwMode="auto">
            <a:xfrm>
              <a:off x="2551405" y="2012937"/>
              <a:ext cx="4489741" cy="2673715"/>
              <a:chOff x="2551405" y="2012937"/>
              <a:chExt cx="4489741" cy="2673715"/>
            </a:xfrm>
          </p:grpSpPr>
          <p:pic>
            <p:nvPicPr>
              <p:cNvPr id="30729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2551405" y="2038314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4" name="Picture 103"/>
              <p:cNvPicPr>
                <a:picLocks noChangeAspect="1"/>
              </p:cNvPicPr>
              <p:nvPr/>
            </p:nvPicPr>
            <p:blipFill rotWithShape="1">
              <a:blip r:embed="rId7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94" b="694"/>
              <a:stretch/>
            </p:blipFill>
            <p:spPr>
              <a:xfrm>
                <a:off x="2551405" y="2012937"/>
                <a:ext cx="263689" cy="263689"/>
              </a:xfrm>
              <a:prstGeom prst="ellipse">
                <a:avLst/>
              </a:prstGeom>
            </p:spPr>
          </p:pic>
          <p:pic>
            <p:nvPicPr>
              <p:cNvPr id="30731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2787362" y="2333835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6" name="Picture 105"/>
              <p:cNvPicPr>
                <a:picLocks noChangeAspect="1"/>
              </p:cNvPicPr>
              <p:nvPr/>
            </p:nvPicPr>
            <p:blipFill rotWithShape="1">
              <a:blip r:embed="rId7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51" r="1351"/>
              <a:stretch/>
            </p:blipFill>
            <p:spPr>
              <a:xfrm>
                <a:off x="2787362" y="2303339"/>
                <a:ext cx="274595" cy="274595"/>
              </a:xfrm>
              <a:prstGeom prst="ellipse">
                <a:avLst/>
              </a:prstGeom>
            </p:spPr>
          </p:pic>
          <p:pic>
            <p:nvPicPr>
              <p:cNvPr id="30733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454030" y="2183617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8" name="Picture 107"/>
              <p:cNvPicPr>
                <a:picLocks noChangeAspect="1"/>
              </p:cNvPicPr>
              <p:nvPr/>
            </p:nvPicPr>
            <p:blipFill rotWithShape="1">
              <a:blip r:embed="rId7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420055" y="2146775"/>
                <a:ext cx="290606" cy="290606"/>
              </a:xfrm>
              <a:prstGeom prst="ellipse">
                <a:avLst/>
              </a:prstGeom>
            </p:spPr>
          </p:pic>
          <p:pic>
            <p:nvPicPr>
              <p:cNvPr id="30735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3525841" y="2403214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0" name="Picture 109"/>
              <p:cNvPicPr>
                <a:picLocks noChangeAspect="1"/>
              </p:cNvPicPr>
              <p:nvPr/>
            </p:nvPicPr>
            <p:blipFill rotWithShape="1">
              <a:blip r:embed="rId7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5" r="685"/>
              <a:stretch/>
            </p:blipFill>
            <p:spPr>
              <a:xfrm>
                <a:off x="3505999" y="2374431"/>
                <a:ext cx="277225" cy="277225"/>
              </a:xfrm>
              <a:prstGeom prst="ellipse">
                <a:avLst/>
              </a:prstGeom>
            </p:spPr>
          </p:pic>
          <p:pic>
            <p:nvPicPr>
              <p:cNvPr id="30737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4003526" y="3095609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2" name="Picture 111"/>
              <p:cNvPicPr>
                <a:picLocks noChangeAspect="1"/>
              </p:cNvPicPr>
              <p:nvPr/>
            </p:nvPicPr>
            <p:blipFill rotWithShape="1">
              <a:blip r:embed="rId7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995104" y="3096736"/>
                <a:ext cx="247650" cy="247650"/>
              </a:xfrm>
              <a:prstGeom prst="ellipse">
                <a:avLst/>
              </a:prstGeom>
            </p:spPr>
          </p:pic>
          <p:pic>
            <p:nvPicPr>
              <p:cNvPr id="30739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6680369" y="2696630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" name="Picture 113"/>
              <p:cNvPicPr>
                <a:picLocks noChangeAspect="1"/>
              </p:cNvPicPr>
              <p:nvPr/>
            </p:nvPicPr>
            <p:blipFill rotWithShape="1">
              <a:blip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52243" y="2680186"/>
                <a:ext cx="281879" cy="281879"/>
              </a:xfrm>
              <a:prstGeom prst="ellipse">
                <a:avLst/>
              </a:prstGeom>
            </p:spPr>
          </p:pic>
          <p:pic>
            <p:nvPicPr>
              <p:cNvPr id="30741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6186864" y="3001873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6" name="Picture 115"/>
              <p:cNvPicPr>
                <a:picLocks noChangeAspect="1"/>
              </p:cNvPicPr>
              <p:nvPr/>
            </p:nvPicPr>
            <p:blipFill rotWithShape="1">
              <a:blip r:embed="rId7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142237" y="2984841"/>
                <a:ext cx="293307" cy="293307"/>
              </a:xfrm>
              <a:prstGeom prst="ellipse">
                <a:avLst/>
              </a:prstGeom>
            </p:spPr>
          </p:pic>
          <p:pic>
            <p:nvPicPr>
              <p:cNvPr id="30743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 rot="1504407">
                <a:off x="6256213" y="4268740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8" name="Picture 117"/>
              <p:cNvPicPr>
                <a:picLocks noChangeAspect="1"/>
              </p:cNvPicPr>
              <p:nvPr/>
            </p:nvPicPr>
            <p:blipFill rotWithShape="1">
              <a:blip r:embed="rId7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297383" y="4257622"/>
                <a:ext cx="240796" cy="240796"/>
              </a:xfrm>
              <a:prstGeom prst="ellipse">
                <a:avLst/>
              </a:prstGeom>
            </p:spPr>
          </p:pic>
          <p:pic>
            <p:nvPicPr>
              <p:cNvPr id="30745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 rot="-1215939">
                <a:off x="5499622" y="4010236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0" name="Picture 119"/>
              <p:cNvPicPr>
                <a:picLocks noChangeAspect="1"/>
              </p:cNvPicPr>
              <p:nvPr/>
            </p:nvPicPr>
            <p:blipFill rotWithShape="1">
              <a:blip r:embed="rId7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99" b="1299"/>
              <a:stretch/>
            </p:blipFill>
            <p:spPr>
              <a:xfrm>
                <a:off x="5474827" y="4043779"/>
                <a:ext cx="242912" cy="242912"/>
              </a:xfrm>
              <a:prstGeom prst="ellipse">
                <a:avLst/>
              </a:prstGeom>
            </p:spPr>
          </p:pic>
          <p:pic>
            <p:nvPicPr>
              <p:cNvPr id="30747" name="Picture 7" descr="D:\sookhyun\PPT\PNG,아이콘\010. 1종 국기압정\PNG\유럽\영국.png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 rot="-4059654">
                <a:off x="5406191" y="3168037"/>
                <a:ext cx="360777" cy="4179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2" name="Picture 121"/>
              <p:cNvPicPr>
                <a:picLocks noChangeAspect="1"/>
              </p:cNvPicPr>
              <p:nvPr/>
            </p:nvPicPr>
            <p:blipFill>
              <a:blip r:embed="rId7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59702" y="3272021"/>
                <a:ext cx="254801" cy="258340"/>
              </a:xfrm>
              <a:prstGeom prst="ellipse">
                <a:avLst/>
              </a:prstGeom>
            </p:spPr>
          </p:pic>
        </p:grpSp>
      </p:grpSp>
      <p:sp>
        <p:nvSpPr>
          <p:cNvPr id="30726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8FB19AD-545B-46A5-AF76-1C97B185507D}" type="slidenum">
              <a:rPr lang="zh-CN" altLang="en-US" smtClean="0">
                <a:ea typeface="SimSun" pitchFamily="2" charset="-122"/>
              </a:rPr>
              <a:pPr/>
              <a:t>3</a:t>
            </a:fld>
            <a:endParaRPr lang="zh-CN" altLang="en-US" smtClean="0">
              <a:ea typeface="SimSun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F14D99C7-CA8E-4C95-8664-DEF3998DD811}" type="slidenum">
              <a:rPr lang="zh-CN" altLang="en-US" smtClean="0">
                <a:ea typeface="SimSun" pitchFamily="2" charset="-122"/>
              </a:rPr>
              <a:pPr/>
              <a:t>4</a:t>
            </a:fld>
            <a:endParaRPr lang="zh-CN" altLang="en-US" smtClean="0">
              <a:ea typeface="SimSun" pitchFamily="2" charset="-122"/>
            </a:endParaRPr>
          </a:p>
        </p:txBody>
      </p:sp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00" y="1106488"/>
            <a:ext cx="9086900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2" name="Rectangle 7"/>
          <p:cNvSpPr>
            <a:spLocks noGrp="1" noChangeArrowheads="1"/>
          </p:cNvSpPr>
          <p:nvPr>
            <p:ph type="title"/>
          </p:nvPr>
        </p:nvSpPr>
        <p:spPr>
          <a:xfrm>
            <a:off x="457200" y="25400"/>
            <a:ext cx="8229600" cy="955675"/>
          </a:xfrm>
        </p:spPr>
        <p:txBody>
          <a:bodyPr/>
          <a:lstStyle/>
          <a:p>
            <a:pPr algn="ctr"/>
            <a:r>
              <a:rPr lang="en-US" altLang="en-US" sz="3300" b="1" smtClean="0">
                <a:latin typeface="Gill Sans MT" pitchFamily="34" charset="0"/>
              </a:rPr>
              <a:t>Territory Covered by Regional IP Offices in Africa – Including Observe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11760" y="5157192"/>
            <a:ext cx="5472608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RIPO + OAPI – 67% of African Countries</a:t>
            </a:r>
          </a:p>
          <a:p>
            <a:r>
              <a:rPr lang="en-US" dirty="0" smtClean="0"/>
              <a:t>ARIPO + Potential Member States (9)+OAPI – 83%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4"/>
          <p:cNvSpPr>
            <a:spLocks noGrp="1"/>
          </p:cNvSpPr>
          <p:nvPr>
            <p:ph type="title"/>
          </p:nvPr>
        </p:nvSpPr>
        <p:spPr>
          <a:xfrm>
            <a:off x="323850" y="0"/>
            <a:ext cx="8374063" cy="576263"/>
          </a:xfrm>
        </p:spPr>
        <p:txBody>
          <a:bodyPr/>
          <a:lstStyle/>
          <a:p>
            <a:r>
              <a:rPr lang="en-ZW" altLang="en-US" sz="3000" b="1" smtClean="0">
                <a:latin typeface="Gill Sans MT" pitchFamily="34" charset="0"/>
              </a:rPr>
              <a:t>Need for Cooperation at Regional Level on IP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79388" y="476250"/>
            <a:ext cx="8785225" cy="5545138"/>
          </a:xfrm>
        </p:spPr>
        <p:txBody>
          <a:bodyPr/>
          <a:lstStyle/>
          <a:p>
            <a:pPr marL="0" indent="0">
              <a:buFont typeface="Arial" pitchFamily="34" charset="0"/>
              <a:buNone/>
              <a:defRPr/>
            </a:pPr>
            <a:r>
              <a:rPr lang="en-ZW" sz="3200" dirty="0" smtClean="0">
                <a:latin typeface="Arial" panose="020B0604020202020204" pitchFamily="34" charset="0"/>
                <a:cs typeface="Arial" panose="020B0604020202020204" pitchFamily="34" charset="0"/>
                <a:sym typeface="Wingdings 2"/>
              </a:rPr>
              <a:t> </a:t>
            </a: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IP is regional and multilateral in nature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IP deals with tradable goods that cross boundaries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Violation of IPRs is global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Some IP issues are trans-boundary: TK, </a:t>
            </a:r>
            <a:r>
              <a:rPr lang="en-ZW" sz="2600" dirty="0" err="1" smtClean="0">
                <a:latin typeface="Gill Sans MT" pitchFamily="34" charset="0"/>
                <a:ea typeface="宋体" pitchFamily="2" charset="-122"/>
              </a:rPr>
              <a:t>biopiracy</a:t>
            </a: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, transfer of technology</a:t>
            </a:r>
          </a:p>
          <a:p>
            <a:pPr marL="0" indent="0">
              <a:buFont typeface="Arial" pitchFamily="34" charset="0"/>
              <a:buNone/>
              <a:defRPr/>
            </a:pPr>
            <a:r>
              <a:rPr lang="en-ZW" sz="2800" dirty="0" smtClean="0">
                <a:latin typeface="Arial" panose="020B0604020202020204" pitchFamily="34" charset="0"/>
                <a:cs typeface="Arial" panose="020B0604020202020204" pitchFamily="34" charset="0"/>
                <a:sym typeface="Wingdings 2"/>
              </a:rPr>
              <a:t> </a:t>
            </a:r>
            <a:r>
              <a:rPr lang="en-ZW" sz="2600" dirty="0">
                <a:latin typeface="Gill Sans MT" pitchFamily="34" charset="0"/>
                <a:ea typeface="宋体" pitchFamily="2" charset="-122"/>
                <a:sym typeface="Wingdings 2"/>
              </a:rPr>
              <a:t>Response to IP challenges must be</a:t>
            </a:r>
            <a:r>
              <a:rPr lang="en-ZW" sz="2600" dirty="0">
                <a:latin typeface="Gill Sans MT" pitchFamily="34" charset="0"/>
                <a:ea typeface="宋体" pitchFamily="2" charset="-122"/>
              </a:rPr>
              <a:t> regional 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 Common policies and harmonization of IP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Common systems of protection of trans-boundary  TK, fight against bio-piracy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Common mechanisms of enforcement of IPRs</a:t>
            </a:r>
          </a:p>
          <a:p>
            <a:pPr marL="714375">
              <a:defRPr/>
            </a:pPr>
            <a:r>
              <a:rPr lang="en-ZW" sz="2600" dirty="0" smtClean="0">
                <a:latin typeface="Gill Sans MT" pitchFamily="34" charset="0"/>
                <a:ea typeface="宋体" pitchFamily="2" charset="-122"/>
              </a:rPr>
              <a:t>Common infrastructures, skills development and administration systems</a:t>
            </a:r>
            <a:endParaRPr lang="en-ZW" sz="2600" dirty="0">
              <a:latin typeface="Gill Sans MT" pitchFamily="34" charset="0"/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468313" y="188913"/>
            <a:ext cx="8229600" cy="774700"/>
          </a:xfrm>
        </p:spPr>
        <p:txBody>
          <a:bodyPr/>
          <a:lstStyle/>
          <a:p>
            <a:pPr algn="ctr"/>
            <a:r>
              <a:rPr lang="en-US" altLang="en-US" sz="3600" b="1" dirty="0" smtClean="0"/>
              <a:t>ARIPO Role in the Promotion of IP </a:t>
            </a:r>
            <a:r>
              <a:rPr lang="en-US" altLang="en-US" sz="3600" b="1" dirty="0" smtClean="0"/>
              <a:t>in</a:t>
            </a:r>
            <a:r>
              <a:rPr lang="en-US" altLang="en-US" sz="3600" b="1" dirty="0" smtClean="0"/>
              <a:t> </a:t>
            </a:r>
            <a:r>
              <a:rPr lang="en-US" altLang="en-US" sz="3600" b="1" dirty="0" smtClean="0"/>
              <a:t>its Member States</a:t>
            </a:r>
            <a:endParaRPr lang="en-US" altLang="en-US" sz="3600" dirty="0" smtClean="0"/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>
          <a:xfrm>
            <a:off x="539750" y="1125538"/>
            <a:ext cx="8229600" cy="4895850"/>
          </a:xfrm>
        </p:spPr>
        <p:txBody>
          <a:bodyPr/>
          <a:lstStyle/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Pooling of resources together for promotion, development and harmonization of IP laws and policies.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Integrating IP in the national &amp; regional economic development </a:t>
            </a:r>
            <a:r>
              <a:rPr lang="en-US" altLang="en-US" sz="2600" dirty="0" err="1" smtClean="0">
                <a:solidFill>
                  <a:srgbClr val="000000"/>
                </a:solidFill>
                <a:latin typeface="Gill Sans MT" pitchFamily="34" charset="0"/>
              </a:rPr>
              <a:t>programmes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 &amp; policies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Facilitating &amp; encouraging IP awareness Programs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Facilitating harmonized national &amp; regional protection, exploitation &amp; enforcement of IP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000000"/>
                </a:solidFill>
                <a:latin typeface="Gill Sans MT" pitchFamily="34" charset="0"/>
              </a:rPr>
              <a:t>Promoting capacity building &amp; development of human resources in IP (ARIPO Academy)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00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FF0000"/>
                </a:solidFill>
                <a:latin typeface="Gill Sans MT" pitchFamily="34" charset="0"/>
              </a:rPr>
              <a:t>Promoting dissemination of technological information</a:t>
            </a:r>
          </a:p>
          <a:p>
            <a:pPr marL="0" lvl="2" indent="0" eaLnBrk="1" hangingPunct="1">
              <a:lnSpc>
                <a:spcPct val="90000"/>
              </a:lnSpc>
              <a:buFont typeface="Arial" pitchFamily="34" charset="0"/>
              <a:buNone/>
            </a:pPr>
            <a:r>
              <a:rPr lang="en-ZW" altLang="en-US" sz="2600" dirty="0" smtClean="0">
                <a:solidFill>
                  <a:srgbClr val="FF0000"/>
                </a:solidFill>
                <a:latin typeface="Gill Sans MT" pitchFamily="34" charset="0"/>
                <a:sym typeface="Wingdings 2" pitchFamily="18" charset="2"/>
              </a:rPr>
              <a:t> </a:t>
            </a:r>
            <a:r>
              <a:rPr lang="en-US" altLang="en-US" sz="2600" dirty="0" smtClean="0">
                <a:solidFill>
                  <a:srgbClr val="FF0000"/>
                </a:solidFill>
                <a:latin typeface="Gill Sans MT" pitchFamily="34" charset="0"/>
              </a:rPr>
              <a:t>Promoting transfer of technolog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ChangeArrowheads="1"/>
          </p:cNvSpPr>
          <p:nvPr/>
        </p:nvSpPr>
        <p:spPr bwMode="auto">
          <a:xfrm>
            <a:off x="0" y="3062288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ZA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>
          <a:xfrm>
            <a:off x="683568" y="0"/>
            <a:ext cx="8229600" cy="788987"/>
          </a:xfrm>
        </p:spPr>
        <p:txBody>
          <a:bodyPr/>
          <a:lstStyle/>
          <a:p>
            <a:r>
              <a:rPr lang="pt-PT" sz="4000" b="1" dirty="0" smtClean="0"/>
              <a:t>Technological Information</a:t>
            </a:r>
            <a:endParaRPr lang="en-US" sz="4000" b="1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251520" y="692696"/>
            <a:ext cx="8712968" cy="4987925"/>
          </a:xfrm>
        </p:spPr>
        <p:txBody>
          <a:bodyPr/>
          <a:lstStyle/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3"/>
              </a:buBlip>
              <a:defRPr/>
            </a:pPr>
            <a:r>
              <a:rPr lang="pt-PT" altLang="en-US" sz="2800" b="1" dirty="0" smtClean="0"/>
              <a:t> </a:t>
            </a:r>
            <a:r>
              <a:rPr lang="pt-PT" sz="3600" b="1" dirty="0" smtClean="0"/>
              <a:t>80% </a:t>
            </a:r>
            <a:r>
              <a:rPr lang="pt-PT" sz="3600" dirty="0" smtClean="0"/>
              <a:t>of technological information is in the form of patents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pt-PT" sz="3600" dirty="0" smtClean="0"/>
          </a:p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3"/>
              </a:buBlip>
              <a:defRPr/>
            </a:pPr>
            <a:r>
              <a:rPr lang="pt-PT" sz="3600" dirty="0" smtClean="0"/>
              <a:t>There are </a:t>
            </a:r>
            <a:r>
              <a:rPr lang="pt-PT" sz="3600" b="1" dirty="0" smtClean="0"/>
              <a:t>70 million </a:t>
            </a:r>
            <a:r>
              <a:rPr lang="pt-PT" sz="3600" dirty="0" smtClean="0"/>
              <a:t>patents in the World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pt-PT" sz="3600" dirty="0"/>
          </a:p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3"/>
              </a:buBlip>
              <a:defRPr/>
            </a:pPr>
            <a:r>
              <a:rPr lang="pt-PT" sz="3600" b="1" dirty="0" smtClean="0"/>
              <a:t>1 million </a:t>
            </a:r>
            <a:r>
              <a:rPr lang="pt-PT" sz="3600" dirty="0" smtClean="0"/>
              <a:t>new patents each year</a:t>
            </a:r>
          </a:p>
          <a:p>
            <a:pPr marL="0" lvl="2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pt-PT" sz="3600" dirty="0"/>
          </a:p>
          <a:p>
            <a:pPr marL="228600" lvl="2" fontAlgn="auto">
              <a:lnSpc>
                <a:spcPct val="90000"/>
              </a:lnSpc>
              <a:spcAft>
                <a:spcPts val="0"/>
              </a:spcAft>
              <a:buBlip>
                <a:blip r:embed="rId3"/>
              </a:buBlip>
              <a:defRPr/>
            </a:pPr>
            <a:r>
              <a:rPr lang="pt-PT" sz="3600" dirty="0" smtClean="0"/>
              <a:t>All this information is stored in databases (some freely accessible</a:t>
            </a:r>
            <a:r>
              <a:rPr lang="pt-PT" sz="2200" dirty="0" smtClean="0"/>
              <a:t>)</a:t>
            </a:r>
            <a:endParaRPr lang="en-US" sz="22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3638"/>
            <a:ext cx="21336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41AF0B-B4B5-4FEC-B0E6-F1DB73E41765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9455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1217926"/>
              </p:ext>
            </p:extLst>
          </p:nvPr>
        </p:nvGraphicFramePr>
        <p:xfrm>
          <a:off x="-9203" y="764704"/>
          <a:ext cx="9140924" cy="5949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Chart" r:id="rId3" imgW="11792331" imgH="7277481" progId="Excel.Chart.8">
                  <p:embed/>
                </p:oleObj>
              </mc:Choice>
              <mc:Fallback>
                <p:oleObj name="Chart" r:id="rId3" imgW="11792331" imgH="7277481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9203" y="764704"/>
                        <a:ext cx="9140924" cy="59492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>
          <a:xfrm>
            <a:off x="5010" y="116632"/>
            <a:ext cx="9138989" cy="788987"/>
          </a:xfrm>
          <a:solidFill>
            <a:srgbClr val="FFC000"/>
          </a:solidFill>
        </p:spPr>
        <p:txBody>
          <a:bodyPr/>
          <a:lstStyle/>
          <a:p>
            <a:pPr algn="ctr"/>
            <a:r>
              <a:rPr lang="pt-PT" sz="2800" b="1" dirty="0"/>
              <a:t>R</a:t>
            </a:r>
            <a:r>
              <a:rPr lang="pt-PT" sz="2800" b="1" dirty="0" smtClean="0"/>
              <a:t>elationship between Development and IP</a:t>
            </a:r>
            <a:endParaRPr lang="en-US" sz="2800" b="1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8349852"/>
              </p:ext>
            </p:extLst>
          </p:nvPr>
        </p:nvGraphicFramePr>
        <p:xfrm>
          <a:off x="6448078" y="908720"/>
          <a:ext cx="2660426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4109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774700"/>
          </a:xfrm>
          <a:solidFill>
            <a:srgbClr val="FFC000"/>
          </a:solidFill>
        </p:spPr>
        <p:txBody>
          <a:bodyPr/>
          <a:lstStyle/>
          <a:p>
            <a:r>
              <a:rPr lang="en-US" dirty="0" smtClean="0"/>
              <a:t>ARIPO’s activities and initiatives in the promotion</a:t>
            </a:r>
            <a:br>
              <a:rPr lang="en-US" dirty="0" smtClean="0"/>
            </a:br>
            <a:r>
              <a:rPr lang="en-US" dirty="0" smtClean="0"/>
              <a:t> of access to knowledge and infor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052736"/>
            <a:ext cx="9144000" cy="4525963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	</a:t>
            </a:r>
            <a:r>
              <a:rPr lang="en-US" sz="2400" b="1" u="sng" dirty="0" smtClean="0"/>
              <a:t>ARIPO SEARCHES, PATENT ANALYSIS  AND SELECTIVE DISSEMINATION OF INFORMTION (Patent landscape)</a:t>
            </a:r>
          </a:p>
          <a:p>
            <a:pPr eaLnBrk="1" hangingPunct="1"/>
            <a:r>
              <a:rPr lang="en-US" altLang="en-US" b="1" dirty="0" smtClean="0"/>
              <a:t>Encourages innovation and consequently economic growth by rewarding investments made in developing a new invention(protection) and publishing and making known technical information of a new invention (</a:t>
            </a:r>
            <a:r>
              <a:rPr lang="en-US" altLang="en-US" b="1" dirty="0" smtClean="0">
                <a:sym typeface="Wingdings" pitchFamily="2" charset="2"/>
              </a:rPr>
              <a:t>disclosure)</a:t>
            </a:r>
          </a:p>
          <a:p>
            <a:pPr eaLnBrk="1" hangingPunct="1"/>
            <a:r>
              <a:rPr lang="en-US" altLang="en-US" b="1" dirty="0" smtClean="0"/>
              <a:t>Patent protection is </a:t>
            </a:r>
            <a:r>
              <a:rPr lang="en-US" altLang="en-US" b="1" u="sng" dirty="0" smtClean="0"/>
              <a:t>territorial</a:t>
            </a:r>
            <a:r>
              <a:rPr lang="en-US" altLang="en-US" b="1" dirty="0" smtClean="0"/>
              <a:t> in nature but Patent information is </a:t>
            </a:r>
            <a:r>
              <a:rPr lang="en-US" altLang="en-US" b="1" u="sng" dirty="0" smtClean="0"/>
              <a:t>global</a:t>
            </a:r>
          </a:p>
          <a:p>
            <a:pPr eaLnBrk="1" hangingPunct="1"/>
            <a:r>
              <a:rPr lang="en-US" altLang="en-US" b="1" dirty="0" smtClean="0"/>
              <a:t>Patent protection is </a:t>
            </a:r>
            <a:r>
              <a:rPr lang="en-US" altLang="en-US" b="1" u="sng" dirty="0" smtClean="0"/>
              <a:t>limited by claims </a:t>
            </a:r>
            <a:r>
              <a:rPr lang="en-US" altLang="en-US" b="1" dirty="0" smtClean="0"/>
              <a:t>in scope but Patent information includes </a:t>
            </a:r>
            <a:r>
              <a:rPr lang="en-US" altLang="en-US" b="1" u="sng" dirty="0" smtClean="0"/>
              <a:t>all information</a:t>
            </a:r>
            <a:r>
              <a:rPr lang="en-US" altLang="en-US" b="1" dirty="0" smtClean="0"/>
              <a:t> contained in patent documents</a:t>
            </a:r>
          </a:p>
          <a:p>
            <a:pPr eaLnBrk="1" hangingPunct="1"/>
            <a:r>
              <a:rPr lang="en-US" altLang="en-US" b="1" dirty="0" smtClean="0"/>
              <a:t>Patent protection is </a:t>
            </a:r>
            <a:r>
              <a:rPr lang="en-US" altLang="en-US" b="1" u="sng" dirty="0" smtClean="0"/>
              <a:t>time-limited </a:t>
            </a:r>
            <a:r>
              <a:rPr lang="en-US" altLang="en-US" b="1" dirty="0" smtClean="0"/>
              <a:t> but Patent information remains </a:t>
            </a:r>
            <a:r>
              <a:rPr lang="en-US" altLang="en-US" b="1" u="sng" dirty="0" smtClean="0"/>
              <a:t>permanently available</a:t>
            </a:r>
          </a:p>
          <a:p>
            <a:pPr eaLnBrk="1" hangingPunct="1"/>
            <a:r>
              <a:rPr lang="en-US" altLang="en-US" b="1" dirty="0" smtClean="0"/>
              <a:t>Patent protection gives patent owners a </a:t>
            </a:r>
            <a:r>
              <a:rPr lang="en-US" altLang="en-US" b="1" u="sng" dirty="0" smtClean="0"/>
              <a:t>right to prevent </a:t>
            </a:r>
            <a:r>
              <a:rPr lang="en-US" altLang="en-US" b="1" dirty="0" smtClean="0"/>
              <a:t>others from carrying out the invention (manufacturing or marketing) but Patents do not prevent others from </a:t>
            </a:r>
            <a:r>
              <a:rPr lang="en-US" altLang="en-US" b="1" u="sng" dirty="0" smtClean="0"/>
              <a:t>learning</a:t>
            </a:r>
            <a:r>
              <a:rPr lang="en-US" altLang="en-US" b="1" dirty="0" smtClean="0"/>
              <a:t> from the invention</a:t>
            </a:r>
          </a:p>
          <a:p>
            <a:pPr eaLnBrk="1" hangingPunct="1"/>
            <a:endParaRPr lang="en-US" altLang="en-US" b="1" u="sng" dirty="0" smtClean="0"/>
          </a:p>
          <a:p>
            <a:pPr eaLnBrk="1" hangingPunct="1"/>
            <a:endParaRPr lang="en-US" altLang="en-US" b="1" u="sng" dirty="0" smtClean="0"/>
          </a:p>
          <a:p>
            <a:pPr eaLnBrk="1" hangingPunct="1"/>
            <a:endParaRPr lang="en-US" altLang="en-US" sz="2400" b="1" dirty="0" smtClean="0"/>
          </a:p>
          <a:p>
            <a:pPr eaLnBrk="1" hangingPunct="1"/>
            <a:endParaRPr lang="en-US" altLang="en-US" sz="2400" b="1" u="sng" dirty="0" smtClean="0"/>
          </a:p>
          <a:p>
            <a:pPr eaLnBrk="1" hangingPunct="1"/>
            <a:endParaRPr lang="en-US" altLang="en-US" sz="2400" b="1" dirty="0" smtClean="0"/>
          </a:p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heme/theme1.xml><?xml version="1.0" encoding="utf-8"?>
<a:theme xmlns:a="http://schemas.openxmlformats.org/drawingml/2006/main" name="Office 主题">
  <a:themeElements>
    <a:clrScheme name="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经典特宋简"/>
        <a:ea typeface="经典特宋简"/>
        <a:cs typeface=""/>
      </a:majorFont>
      <a:minorFont>
        <a:latin typeface="华文细黑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主题">
  <a:themeElements>
    <a:clrScheme name="1_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主题">
      <a:majorFont>
        <a:latin typeface="经典特宋简"/>
        <a:ea typeface="经典特宋简"/>
        <a:cs typeface=""/>
      </a:majorFont>
      <a:minorFont>
        <a:latin typeface="华文细黑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4</TotalTime>
  <Pages>0</Pages>
  <Words>946</Words>
  <Characters>0</Characters>
  <Application>Microsoft Office PowerPoint</Application>
  <DocSecurity>0</DocSecurity>
  <PresentationFormat>On-screen Show (4:3)</PresentationFormat>
  <Lines>0</Lines>
  <Paragraphs>170</Paragraphs>
  <Slides>1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Office 主题</vt:lpstr>
      <vt:lpstr>1_Office 主题</vt:lpstr>
      <vt:lpstr>Chart</vt:lpstr>
      <vt:lpstr>PowerPoint Presentation</vt:lpstr>
      <vt:lpstr>REGIONAL COOPERATION ON IP IN AFRICA</vt:lpstr>
      <vt:lpstr>MEMBERSHIP</vt:lpstr>
      <vt:lpstr>Territory Covered by Regional IP Offices in Africa – Including Observers</vt:lpstr>
      <vt:lpstr>Need for Cooperation at Regional Level on IP</vt:lpstr>
      <vt:lpstr>ARIPO Role in the Promotion of IP in its Member States</vt:lpstr>
      <vt:lpstr>Technological Information</vt:lpstr>
      <vt:lpstr>Relationship between Development and IP</vt:lpstr>
      <vt:lpstr>ARIPO’s activities and initiatives in the promotion  of access to knowledge and information</vt:lpstr>
      <vt:lpstr>Users, Uses and Levels of Use</vt:lpstr>
      <vt:lpstr>ARIPO ROVING SEMINARS ON MAKING BETTER USE OF IP FOR BUSINESS COMPETITIVENESS AND DEVELOPMENT – LAUNCHED IN JAN. 2013</vt:lpstr>
      <vt:lpstr>ARIPO’s RECENT COOPERATION WITH KOREA – ARIPO-WIPO-KOICA-KIPO   Launched on March 24, 2015</vt:lpstr>
      <vt:lpstr>ARIPO –WIPO COOPERATION</vt:lpstr>
      <vt:lpstr>SOUTH-SOUTH COOPERATION ON CAPACITY BUILDING</vt:lpstr>
      <vt:lpstr>SOUTH-SOUTH COOPERATION: CHALLENGES AND WAY FORWARD</vt:lpstr>
      <vt:lpstr>PowerPoint Presentation</vt:lpstr>
    </vt:vector>
  </TitlesOfParts>
  <Company>kingsoft</Company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rachel</dc:creator>
  <cp:lastModifiedBy>Mr. E Sackey</cp:lastModifiedBy>
  <cp:revision>190</cp:revision>
  <cp:lastPrinted>1899-12-30T00:00:00Z</cp:lastPrinted>
  <dcterms:created xsi:type="dcterms:W3CDTF">2011-06-08T11:08:52Z</dcterms:created>
  <dcterms:modified xsi:type="dcterms:W3CDTF">2015-05-06T12:0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8.1.0.3018</vt:lpwstr>
  </property>
</Properties>
</file>